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2"/>
  </p:notesMasterIdLst>
  <p:sldIdLst>
    <p:sldId id="256" r:id="rId2"/>
    <p:sldId id="276" r:id="rId3"/>
    <p:sldId id="277" r:id="rId4"/>
    <p:sldId id="278" r:id="rId5"/>
    <p:sldId id="279" r:id="rId6"/>
    <p:sldId id="280" r:id="rId7"/>
    <p:sldId id="281" r:id="rId8"/>
    <p:sldId id="282" r:id="rId9"/>
    <p:sldId id="283" r:id="rId10"/>
    <p:sldId id="285" r:id="rId1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52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7560" userDrawn="1">
          <p15:clr>
            <a:srgbClr val="A4A3A4"/>
          </p15:clr>
        </p15:guide>
        <p15:guide id="4" pos="120" userDrawn="1">
          <p15:clr>
            <a:srgbClr val="A4A3A4"/>
          </p15:clr>
        </p15:guide>
        <p15:guide id="5" orient="horz" pos="144" userDrawn="1">
          <p15:clr>
            <a:srgbClr val="A4A3A4"/>
          </p15:clr>
        </p15:guide>
        <p15:guide id="6" orient="horz" pos="4008" userDrawn="1">
          <p15:clr>
            <a:srgbClr val="A4A3A4"/>
          </p15:clr>
        </p15:guide>
        <p15:guide id="7" orient="horz" pos="69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 showGuides="1">
      <p:cViewPr varScale="1">
        <p:scale>
          <a:sx n="67" d="100"/>
          <a:sy n="67" d="100"/>
        </p:scale>
        <p:origin x="604" y="48"/>
      </p:cViewPr>
      <p:guideLst>
        <p:guide orient="horz" pos="2352"/>
        <p:guide pos="3840"/>
        <p:guide pos="7560"/>
        <p:guide pos="120"/>
        <p:guide orient="horz" pos="144"/>
        <p:guide orient="horz" pos="4008"/>
        <p:guide orient="horz" pos="69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047E30-E2B7-4255-9D00-34B4E8EC0783}" type="datetimeFigureOut">
              <a:rPr lang="en-US" smtClean="0"/>
              <a:t>5/8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8A39065-658C-4C18-90D8-7CC631C8594F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77509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8877CA-7A47-4A7D-B0DB-6925E357D94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0184979-0D7B-48D0-BE38-4A49955F425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D6FB0DB-4CA4-418E-B462-A7FBF8CCA3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5E9400-B97B-41FE-BCCC-C2F93B887F9F}" type="datetimeFigureOut">
              <a:rPr lang="en-US" smtClean="0"/>
              <a:t>5/8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901F442-5EE6-4218-A7B4-A9221F7B70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EA39C8C-9F42-4A6A-A1AB-E65841A724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EFC3F0-C584-483B-B1FE-52BE924CB19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242487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9BADB9-C06C-4BCC-86C5-67BB530B37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88F5B64-C8C6-4798-97C9-D0784658B67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CA4DCF8-0B38-49BE-B585-20195659AD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5E9400-B97B-41FE-BCCC-C2F93B887F9F}" type="datetimeFigureOut">
              <a:rPr lang="en-US" smtClean="0"/>
              <a:t>5/8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8C2CAE-7F98-4BC5-8B94-F82E037455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923E92-20E6-4362-A4DF-BC8D42D6BF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EFC3F0-C584-483B-B1FE-52BE924CB19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471534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4029D2A-28B6-46FB-B3AC-7459F9E74DF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DE8BA5B-D9CE-4DBC-A9B2-ADEE56AD487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98B60DA-BC84-4003-93D1-1F955F138A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5E9400-B97B-41FE-BCCC-C2F93B887F9F}" type="datetimeFigureOut">
              <a:rPr lang="en-US" smtClean="0"/>
              <a:t>5/8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9D56A72-38AC-46DD-B96B-980C247E0C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B544AC-A4E2-4C8D-8621-A55503D747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EFC3F0-C584-483B-B1FE-52BE924CB19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29546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E6EDEA-B606-451B-BEBF-F4D66617B8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5F9B6A5-4699-4BDE-A63F-5E70D79A9DC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2122A9A-08E4-4CE4-9BA3-ED4B719581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5E9400-B97B-41FE-BCCC-C2F93B887F9F}" type="datetimeFigureOut">
              <a:rPr lang="en-US" smtClean="0"/>
              <a:t>5/8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E10242B-7507-40EF-A3C3-260EF4AE18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4DEC5DC-EA3B-4AF2-A6D3-0A73614CF3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EFC3F0-C584-483B-B1FE-52BE924CB19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54614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4586D6-6069-4EC6-AE55-F6B29EF663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CF153C-C75D-4948-9637-40DB5FA7E98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4583DF8-1FC2-441A-83AD-4E75954024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5E9400-B97B-41FE-BCCC-C2F93B887F9F}" type="datetimeFigureOut">
              <a:rPr lang="en-US" smtClean="0"/>
              <a:t>5/8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5DC4D83-CFE5-4D44-9702-486B156868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090DB41-2F44-46FE-82C6-034CD20E33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EFC3F0-C584-483B-B1FE-52BE924CB19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18021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7924FE-5F6C-4A87-A5FA-8126845048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AA5309A-D737-464F-98E7-AED16E9C48D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AC75C94-43DD-4DDF-9732-096C693C19A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FF01E36-C3BD-458F-9AD3-BD35BF7317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5E9400-B97B-41FE-BCCC-C2F93B887F9F}" type="datetimeFigureOut">
              <a:rPr lang="en-US" smtClean="0"/>
              <a:t>5/8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77BA63E-FF40-4B7F-AD2A-A09F6AA7B9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804F04F-A1B4-42D9-A7AF-F2A354A499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EFC3F0-C584-483B-B1FE-52BE924CB19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33499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515FF9-7B5D-4B77-B016-BB6205DA6D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F41A5CB-7E70-4579-AB50-4AA7959AD5E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2D0F008-F0ED-4BAF-8E17-990D69DE3E5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26AE3EF-C6BE-4515-A92D-B04C8B15CB4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5944A20-AB34-443E-9DD5-79DAD94FBAB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6DF37DF-6E35-4527-85A7-FDF0D9C75B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5E9400-B97B-41FE-BCCC-C2F93B887F9F}" type="datetimeFigureOut">
              <a:rPr lang="en-US" smtClean="0"/>
              <a:t>5/8/2019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D31699B-2ADD-4D32-A918-56EF9152B0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00D061E-AB00-42AD-999F-8B347620C4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EFC3F0-C584-483B-B1FE-52BE924CB19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14847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FD8E48-280B-4449-AF2E-6A106D77E9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9BDA354-D7B6-4E65-A198-1B3452D54B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5E9400-B97B-41FE-BCCC-C2F93B887F9F}" type="datetimeFigureOut">
              <a:rPr lang="en-US" smtClean="0"/>
              <a:t>5/8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2AD0BA0-EA8B-429C-BD03-D9C2D9537A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7B45B03-6579-48C2-A069-4C9273C001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EFC3F0-C584-483B-B1FE-52BE924CB19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73922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1AC5A15-6F5A-4DA0-803D-D6B7947F95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5E9400-B97B-41FE-BCCC-C2F93B887F9F}" type="datetimeFigureOut">
              <a:rPr lang="en-US" smtClean="0"/>
              <a:t>5/8/2019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723A2D-B71F-43CE-9038-D18B67DCE7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3674552-D260-4430-A972-567EF2B198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EFC3F0-C584-483B-B1FE-52BE924CB19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68683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98297B-E6F5-4DA0-9B06-D821054C08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AAD99B-CE42-4ABA-8F7C-08F4C860102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1635722-2FD0-41A3-9E65-13987BFC7F8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1949D6B-3741-4E93-A462-E0C0635FEB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5E9400-B97B-41FE-BCCC-C2F93B887F9F}" type="datetimeFigureOut">
              <a:rPr lang="en-US" smtClean="0"/>
              <a:t>5/8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2351AAB-8E29-4094-AF60-30ECE9D3D0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FEF168-A4E2-48A2-ACB3-D252CC655A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EFC3F0-C584-483B-B1FE-52BE924CB19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22328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ECCE01-6356-42CC-941E-1A1CBE0B2D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B69FAB9-8236-4B07-B3D0-F984C1E4441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5769028-195A-4585-88B1-C26B5A06D17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BCAB3A8-5C71-407E-AF56-A184AA2B9B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5E9400-B97B-41FE-BCCC-C2F93B887F9F}" type="datetimeFigureOut">
              <a:rPr lang="en-US" smtClean="0"/>
              <a:t>5/8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5952B9F-B7E0-4CAC-B20B-0E32F21D22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D1C7F7A-1D4E-46C2-B02A-76307C282B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EFC3F0-C584-483B-B1FE-52BE924CB19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86404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334211F-2929-4E8B-AAA0-ABBB05281E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67CB6A-09CA-48A1-91C1-122760C60B0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B7276D-2CE6-4C8C-8D15-75B4CA6AB43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75E9400-B97B-41FE-BCCC-C2F93B887F9F}" type="datetimeFigureOut">
              <a:rPr lang="en-US" smtClean="0"/>
              <a:t>5/8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2F75B4E-2852-48BA-8BC4-9E4E7EDB233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503094E-CB94-44CF-BFA6-9009BDF8A9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3EFC3F0-C584-483B-B1FE-52BE924CB19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97804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7.xml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slideLayout" Target="../slideLayouts/slideLayout7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9F219D4D-AE38-4BE3-8B24-C2C2A84E544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2423884"/>
            <a:ext cx="12204999" cy="441573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9DCED31-98BA-464D-82D7-5DD9AD4E6B7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29758" b="15805"/>
          <a:stretch/>
        </p:blipFill>
        <p:spPr>
          <a:xfrm>
            <a:off x="-12997" y="2423885"/>
            <a:ext cx="12217996" cy="4434115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D02E9667-82FA-4B83-9E83-58B836A29689}"/>
              </a:ext>
            </a:extLst>
          </p:cNvPr>
          <p:cNvSpPr/>
          <p:nvPr/>
        </p:nvSpPr>
        <p:spPr>
          <a:xfrm>
            <a:off x="304800" y="391886"/>
            <a:ext cx="11582400" cy="5225143"/>
          </a:xfrm>
          <a:prstGeom prst="rect">
            <a:avLst/>
          </a:prstGeom>
          <a:noFill/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0BF66C6-FB2C-483B-9D66-4367541F7EA7}"/>
              </a:ext>
            </a:extLst>
          </p:cNvPr>
          <p:cNvSpPr txBox="1"/>
          <p:nvPr/>
        </p:nvSpPr>
        <p:spPr>
          <a:xfrm>
            <a:off x="595086" y="1146628"/>
            <a:ext cx="7331242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rPr>
              <a:t>Project Proposal </a:t>
            </a:r>
            <a:endParaRPr lang="id-ID" sz="4400" b="1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7B56C3C-2928-41C1-A306-75FBB2CEE809}"/>
              </a:ext>
            </a:extLst>
          </p:cNvPr>
          <p:cNvSpPr txBox="1"/>
          <p:nvPr/>
        </p:nvSpPr>
        <p:spPr>
          <a:xfrm>
            <a:off x="595086" y="1857827"/>
            <a:ext cx="7331242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rPr>
              <a:t>Project 01- Group 04</a:t>
            </a:r>
            <a:endParaRPr lang="id-ID" sz="28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Segoe UI" panose="020B0502040204020203" pitchFamily="34" charset="0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1B85EC03-CEC1-456E-9D23-2781313493E7}"/>
              </a:ext>
            </a:extLst>
          </p:cNvPr>
          <p:cNvCxnSpPr>
            <a:stCxn id="6" idx="2"/>
          </p:cNvCxnSpPr>
          <p:nvPr/>
        </p:nvCxnSpPr>
        <p:spPr>
          <a:xfrm>
            <a:off x="6096000" y="5617029"/>
            <a:ext cx="0" cy="391885"/>
          </a:xfrm>
          <a:prstGeom prst="line">
            <a:avLst/>
          </a:prstGeom>
          <a:ln w="19050">
            <a:solidFill>
              <a:schemeClr val="accent2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9556704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A009C8A9-A9A7-486C-8FEE-CC6EEF431D9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805"/>
          <a:stretch/>
        </p:blipFill>
        <p:spPr>
          <a:xfrm>
            <a:off x="-12998" y="0"/>
            <a:ext cx="12217996" cy="68580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2927FB39-C6B8-4784-A6B3-64AAA12F31AD}"/>
              </a:ext>
            </a:extLst>
          </p:cNvPr>
          <p:cNvSpPr/>
          <p:nvPr/>
        </p:nvSpPr>
        <p:spPr>
          <a:xfrm>
            <a:off x="-6499" y="1104900"/>
            <a:ext cx="12204998" cy="4641850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35AA21CF-55DB-44FF-895E-D7E0EDF82E68}"/>
              </a:ext>
            </a:extLst>
          </p:cNvPr>
          <p:cNvSpPr txBox="1">
            <a:spLocks/>
          </p:cNvSpPr>
          <p:nvPr/>
        </p:nvSpPr>
        <p:spPr>
          <a:xfrm>
            <a:off x="1498600" y="2813447"/>
            <a:ext cx="9194800" cy="123110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ea typeface="Segoe UI" panose="020B0502040204020203" pitchFamily="34" charset="0"/>
                <a:cs typeface="Calibri" panose="020F0502020204030204" pitchFamily="34" charset="0"/>
              </a:rPr>
              <a:t>Thank You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9866887-D177-4EB2-B062-553A262EB830}"/>
              </a:ext>
            </a:extLst>
          </p:cNvPr>
          <p:cNvSpPr/>
          <p:nvPr/>
        </p:nvSpPr>
        <p:spPr>
          <a:xfrm>
            <a:off x="304800" y="596901"/>
            <a:ext cx="11582400" cy="5664200"/>
          </a:xfrm>
          <a:prstGeom prst="rect">
            <a:avLst/>
          </a:prstGeom>
          <a:noFill/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23012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5" name="Oval 1024">
            <a:extLst>
              <a:ext uri="{FF2B5EF4-FFF2-40B4-BE49-F238E27FC236}">
                <a16:creationId xmlns:a16="http://schemas.microsoft.com/office/drawing/2014/main" id="{B18F3B20-38FC-4111-B274-120F8D7FDD1F}"/>
              </a:ext>
            </a:extLst>
          </p:cNvPr>
          <p:cNvSpPr/>
          <p:nvPr/>
        </p:nvSpPr>
        <p:spPr>
          <a:xfrm>
            <a:off x="2438399" y="1835904"/>
            <a:ext cx="7315202" cy="3808493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24" name="Group 1023">
            <a:extLst>
              <a:ext uri="{FF2B5EF4-FFF2-40B4-BE49-F238E27FC236}">
                <a16:creationId xmlns:a16="http://schemas.microsoft.com/office/drawing/2014/main" id="{5BD6223B-8125-43A6-B5BF-07CD708086C3}"/>
              </a:ext>
            </a:extLst>
          </p:cNvPr>
          <p:cNvGrpSpPr/>
          <p:nvPr/>
        </p:nvGrpSpPr>
        <p:grpSpPr>
          <a:xfrm>
            <a:off x="3715693" y="2752036"/>
            <a:ext cx="4755850" cy="1976228"/>
            <a:chOff x="3715693" y="2752036"/>
            <a:chExt cx="4755850" cy="1976228"/>
          </a:xfrm>
        </p:grpSpPr>
        <p:sp>
          <p:nvSpPr>
            <p:cNvPr id="56" name="Freeform 24">
              <a:extLst>
                <a:ext uri="{FF2B5EF4-FFF2-40B4-BE49-F238E27FC236}">
                  <a16:creationId xmlns:a16="http://schemas.microsoft.com/office/drawing/2014/main" id="{967645A6-B0AD-4DC0-A229-F7E37EC2A56F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8642" y="4505364"/>
              <a:ext cx="222900" cy="222900"/>
            </a:xfrm>
            <a:custGeom>
              <a:avLst/>
              <a:gdLst>
                <a:gd name="T0" fmla="*/ 437 w 467"/>
                <a:gd name="T1" fmla="*/ 17 h 467"/>
                <a:gd name="T2" fmla="*/ 424 w 467"/>
                <a:gd name="T3" fmla="*/ 8 h 467"/>
                <a:gd name="T4" fmla="*/ 410 w 467"/>
                <a:gd name="T5" fmla="*/ 3 h 467"/>
                <a:gd name="T6" fmla="*/ 395 w 467"/>
                <a:gd name="T7" fmla="*/ 0 h 467"/>
                <a:gd name="T8" fmla="*/ 379 w 467"/>
                <a:gd name="T9" fmla="*/ 0 h 467"/>
                <a:gd name="T10" fmla="*/ 364 w 467"/>
                <a:gd name="T11" fmla="*/ 3 h 467"/>
                <a:gd name="T12" fmla="*/ 349 w 467"/>
                <a:gd name="T13" fmla="*/ 8 h 467"/>
                <a:gd name="T14" fmla="*/ 336 w 467"/>
                <a:gd name="T15" fmla="*/ 17 h 467"/>
                <a:gd name="T16" fmla="*/ 138 w 467"/>
                <a:gd name="T17" fmla="*/ 215 h 467"/>
                <a:gd name="T18" fmla="*/ 138 w 467"/>
                <a:gd name="T19" fmla="*/ 131 h 467"/>
                <a:gd name="T20" fmla="*/ 136 w 467"/>
                <a:gd name="T21" fmla="*/ 118 h 467"/>
                <a:gd name="T22" fmla="*/ 130 w 467"/>
                <a:gd name="T23" fmla="*/ 105 h 467"/>
                <a:gd name="T24" fmla="*/ 123 w 467"/>
                <a:gd name="T25" fmla="*/ 95 h 467"/>
                <a:gd name="T26" fmla="*/ 113 w 467"/>
                <a:gd name="T27" fmla="*/ 85 h 467"/>
                <a:gd name="T28" fmla="*/ 102 w 467"/>
                <a:gd name="T29" fmla="*/ 77 h 467"/>
                <a:gd name="T30" fmla="*/ 89 w 467"/>
                <a:gd name="T31" fmla="*/ 73 h 467"/>
                <a:gd name="T32" fmla="*/ 76 w 467"/>
                <a:gd name="T33" fmla="*/ 70 h 467"/>
                <a:gd name="T34" fmla="*/ 62 w 467"/>
                <a:gd name="T35" fmla="*/ 70 h 467"/>
                <a:gd name="T36" fmla="*/ 48 w 467"/>
                <a:gd name="T37" fmla="*/ 73 h 467"/>
                <a:gd name="T38" fmla="*/ 35 w 467"/>
                <a:gd name="T39" fmla="*/ 77 h 467"/>
                <a:gd name="T40" fmla="*/ 25 w 467"/>
                <a:gd name="T41" fmla="*/ 85 h 467"/>
                <a:gd name="T42" fmla="*/ 15 w 467"/>
                <a:gd name="T43" fmla="*/ 95 h 467"/>
                <a:gd name="T44" fmla="*/ 7 w 467"/>
                <a:gd name="T45" fmla="*/ 105 h 467"/>
                <a:gd name="T46" fmla="*/ 3 w 467"/>
                <a:gd name="T47" fmla="*/ 118 h 467"/>
                <a:gd name="T48" fmla="*/ 0 w 467"/>
                <a:gd name="T49" fmla="*/ 132 h 467"/>
                <a:gd name="T50" fmla="*/ 0 w 467"/>
                <a:gd name="T51" fmla="*/ 456 h 467"/>
                <a:gd name="T52" fmla="*/ 2 w 467"/>
                <a:gd name="T53" fmla="*/ 464 h 467"/>
                <a:gd name="T54" fmla="*/ 10 w 467"/>
                <a:gd name="T55" fmla="*/ 467 h 467"/>
                <a:gd name="T56" fmla="*/ 314 w 467"/>
                <a:gd name="T57" fmla="*/ 466 h 467"/>
                <a:gd name="T58" fmla="*/ 328 w 467"/>
                <a:gd name="T59" fmla="*/ 464 h 467"/>
                <a:gd name="T60" fmla="*/ 340 w 467"/>
                <a:gd name="T61" fmla="*/ 459 h 467"/>
                <a:gd name="T62" fmla="*/ 352 w 467"/>
                <a:gd name="T63" fmla="*/ 451 h 467"/>
                <a:gd name="T64" fmla="*/ 360 w 467"/>
                <a:gd name="T65" fmla="*/ 441 h 467"/>
                <a:gd name="T66" fmla="*/ 368 w 467"/>
                <a:gd name="T67" fmla="*/ 431 h 467"/>
                <a:gd name="T68" fmla="*/ 373 w 467"/>
                <a:gd name="T69" fmla="*/ 418 h 467"/>
                <a:gd name="T70" fmla="*/ 377 w 467"/>
                <a:gd name="T71" fmla="*/ 405 h 467"/>
                <a:gd name="T72" fmla="*/ 377 w 467"/>
                <a:gd name="T73" fmla="*/ 391 h 467"/>
                <a:gd name="T74" fmla="*/ 373 w 467"/>
                <a:gd name="T75" fmla="*/ 377 h 467"/>
                <a:gd name="T76" fmla="*/ 368 w 467"/>
                <a:gd name="T77" fmla="*/ 364 h 467"/>
                <a:gd name="T78" fmla="*/ 360 w 467"/>
                <a:gd name="T79" fmla="*/ 353 h 467"/>
                <a:gd name="T80" fmla="*/ 352 w 467"/>
                <a:gd name="T81" fmla="*/ 344 h 467"/>
                <a:gd name="T82" fmla="*/ 340 w 467"/>
                <a:gd name="T83" fmla="*/ 337 h 467"/>
                <a:gd name="T84" fmla="*/ 328 w 467"/>
                <a:gd name="T85" fmla="*/ 331 h 467"/>
                <a:gd name="T86" fmla="*/ 314 w 467"/>
                <a:gd name="T87" fmla="*/ 328 h 467"/>
                <a:gd name="T88" fmla="*/ 251 w 467"/>
                <a:gd name="T89" fmla="*/ 328 h 467"/>
                <a:gd name="T90" fmla="*/ 449 w 467"/>
                <a:gd name="T91" fmla="*/ 130 h 467"/>
                <a:gd name="T92" fmla="*/ 458 w 467"/>
                <a:gd name="T93" fmla="*/ 116 h 467"/>
                <a:gd name="T94" fmla="*/ 463 w 467"/>
                <a:gd name="T95" fmla="*/ 102 h 467"/>
                <a:gd name="T96" fmla="*/ 466 w 467"/>
                <a:gd name="T97" fmla="*/ 87 h 467"/>
                <a:gd name="T98" fmla="*/ 466 w 467"/>
                <a:gd name="T99" fmla="*/ 72 h 467"/>
                <a:gd name="T100" fmla="*/ 463 w 467"/>
                <a:gd name="T101" fmla="*/ 57 h 467"/>
                <a:gd name="T102" fmla="*/ 458 w 467"/>
                <a:gd name="T103" fmla="*/ 42 h 467"/>
                <a:gd name="T104" fmla="*/ 449 w 467"/>
                <a:gd name="T105" fmla="*/ 29 h 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67" h="467">
                  <a:moveTo>
                    <a:pt x="444" y="22"/>
                  </a:moveTo>
                  <a:lnTo>
                    <a:pt x="437" y="17"/>
                  </a:lnTo>
                  <a:lnTo>
                    <a:pt x="431" y="13"/>
                  </a:lnTo>
                  <a:lnTo>
                    <a:pt x="424" y="8"/>
                  </a:lnTo>
                  <a:lnTo>
                    <a:pt x="418" y="5"/>
                  </a:lnTo>
                  <a:lnTo>
                    <a:pt x="410" y="3"/>
                  </a:lnTo>
                  <a:lnTo>
                    <a:pt x="403" y="1"/>
                  </a:lnTo>
                  <a:lnTo>
                    <a:pt x="395" y="0"/>
                  </a:lnTo>
                  <a:lnTo>
                    <a:pt x="386" y="0"/>
                  </a:lnTo>
                  <a:lnTo>
                    <a:pt x="379" y="0"/>
                  </a:lnTo>
                  <a:lnTo>
                    <a:pt x="371" y="1"/>
                  </a:lnTo>
                  <a:lnTo>
                    <a:pt x="364" y="3"/>
                  </a:lnTo>
                  <a:lnTo>
                    <a:pt x="356" y="5"/>
                  </a:lnTo>
                  <a:lnTo>
                    <a:pt x="349" y="8"/>
                  </a:lnTo>
                  <a:lnTo>
                    <a:pt x="342" y="13"/>
                  </a:lnTo>
                  <a:lnTo>
                    <a:pt x="336" y="17"/>
                  </a:lnTo>
                  <a:lnTo>
                    <a:pt x="330" y="22"/>
                  </a:lnTo>
                  <a:lnTo>
                    <a:pt x="138" y="215"/>
                  </a:lnTo>
                  <a:lnTo>
                    <a:pt x="138" y="139"/>
                  </a:lnTo>
                  <a:lnTo>
                    <a:pt x="138" y="131"/>
                  </a:lnTo>
                  <a:lnTo>
                    <a:pt x="137" y="125"/>
                  </a:lnTo>
                  <a:lnTo>
                    <a:pt x="136" y="118"/>
                  </a:lnTo>
                  <a:lnTo>
                    <a:pt x="133" y="112"/>
                  </a:lnTo>
                  <a:lnTo>
                    <a:pt x="130" y="105"/>
                  </a:lnTo>
                  <a:lnTo>
                    <a:pt x="126" y="100"/>
                  </a:lnTo>
                  <a:lnTo>
                    <a:pt x="123" y="95"/>
                  </a:lnTo>
                  <a:lnTo>
                    <a:pt x="119" y="90"/>
                  </a:lnTo>
                  <a:lnTo>
                    <a:pt x="113" y="85"/>
                  </a:lnTo>
                  <a:lnTo>
                    <a:pt x="108" y="82"/>
                  </a:lnTo>
                  <a:lnTo>
                    <a:pt x="102" y="77"/>
                  </a:lnTo>
                  <a:lnTo>
                    <a:pt x="96" y="75"/>
                  </a:lnTo>
                  <a:lnTo>
                    <a:pt x="89" y="73"/>
                  </a:lnTo>
                  <a:lnTo>
                    <a:pt x="83" y="71"/>
                  </a:lnTo>
                  <a:lnTo>
                    <a:pt x="76" y="70"/>
                  </a:lnTo>
                  <a:lnTo>
                    <a:pt x="69" y="70"/>
                  </a:lnTo>
                  <a:lnTo>
                    <a:pt x="62" y="70"/>
                  </a:lnTo>
                  <a:lnTo>
                    <a:pt x="55" y="71"/>
                  </a:lnTo>
                  <a:lnTo>
                    <a:pt x="48" y="73"/>
                  </a:lnTo>
                  <a:lnTo>
                    <a:pt x="42" y="75"/>
                  </a:lnTo>
                  <a:lnTo>
                    <a:pt x="35" y="77"/>
                  </a:lnTo>
                  <a:lnTo>
                    <a:pt x="30" y="82"/>
                  </a:lnTo>
                  <a:lnTo>
                    <a:pt x="25" y="85"/>
                  </a:lnTo>
                  <a:lnTo>
                    <a:pt x="20" y="90"/>
                  </a:lnTo>
                  <a:lnTo>
                    <a:pt x="15" y="95"/>
                  </a:lnTo>
                  <a:lnTo>
                    <a:pt x="12" y="100"/>
                  </a:lnTo>
                  <a:lnTo>
                    <a:pt x="7" y="105"/>
                  </a:lnTo>
                  <a:lnTo>
                    <a:pt x="5" y="112"/>
                  </a:lnTo>
                  <a:lnTo>
                    <a:pt x="3" y="118"/>
                  </a:lnTo>
                  <a:lnTo>
                    <a:pt x="1" y="125"/>
                  </a:lnTo>
                  <a:lnTo>
                    <a:pt x="0" y="132"/>
                  </a:lnTo>
                  <a:lnTo>
                    <a:pt x="0" y="139"/>
                  </a:lnTo>
                  <a:lnTo>
                    <a:pt x="0" y="456"/>
                  </a:lnTo>
                  <a:lnTo>
                    <a:pt x="0" y="461"/>
                  </a:lnTo>
                  <a:lnTo>
                    <a:pt x="2" y="464"/>
                  </a:lnTo>
                  <a:lnTo>
                    <a:pt x="5" y="466"/>
                  </a:lnTo>
                  <a:lnTo>
                    <a:pt x="10" y="467"/>
                  </a:lnTo>
                  <a:lnTo>
                    <a:pt x="308" y="467"/>
                  </a:lnTo>
                  <a:lnTo>
                    <a:pt x="314" y="466"/>
                  </a:lnTo>
                  <a:lnTo>
                    <a:pt x="322" y="465"/>
                  </a:lnTo>
                  <a:lnTo>
                    <a:pt x="328" y="464"/>
                  </a:lnTo>
                  <a:lnTo>
                    <a:pt x="335" y="461"/>
                  </a:lnTo>
                  <a:lnTo>
                    <a:pt x="340" y="459"/>
                  </a:lnTo>
                  <a:lnTo>
                    <a:pt x="346" y="455"/>
                  </a:lnTo>
                  <a:lnTo>
                    <a:pt x="352" y="451"/>
                  </a:lnTo>
                  <a:lnTo>
                    <a:pt x="356" y="447"/>
                  </a:lnTo>
                  <a:lnTo>
                    <a:pt x="360" y="441"/>
                  </a:lnTo>
                  <a:lnTo>
                    <a:pt x="365" y="436"/>
                  </a:lnTo>
                  <a:lnTo>
                    <a:pt x="368" y="431"/>
                  </a:lnTo>
                  <a:lnTo>
                    <a:pt x="371" y="424"/>
                  </a:lnTo>
                  <a:lnTo>
                    <a:pt x="373" y="418"/>
                  </a:lnTo>
                  <a:lnTo>
                    <a:pt x="376" y="411"/>
                  </a:lnTo>
                  <a:lnTo>
                    <a:pt x="377" y="405"/>
                  </a:lnTo>
                  <a:lnTo>
                    <a:pt x="377" y="397"/>
                  </a:lnTo>
                  <a:lnTo>
                    <a:pt x="377" y="391"/>
                  </a:lnTo>
                  <a:lnTo>
                    <a:pt x="376" y="383"/>
                  </a:lnTo>
                  <a:lnTo>
                    <a:pt x="373" y="377"/>
                  </a:lnTo>
                  <a:lnTo>
                    <a:pt x="371" y="370"/>
                  </a:lnTo>
                  <a:lnTo>
                    <a:pt x="368" y="364"/>
                  </a:lnTo>
                  <a:lnTo>
                    <a:pt x="365" y="358"/>
                  </a:lnTo>
                  <a:lnTo>
                    <a:pt x="360" y="353"/>
                  </a:lnTo>
                  <a:lnTo>
                    <a:pt x="356" y="348"/>
                  </a:lnTo>
                  <a:lnTo>
                    <a:pt x="352" y="344"/>
                  </a:lnTo>
                  <a:lnTo>
                    <a:pt x="346" y="340"/>
                  </a:lnTo>
                  <a:lnTo>
                    <a:pt x="340" y="337"/>
                  </a:lnTo>
                  <a:lnTo>
                    <a:pt x="335" y="333"/>
                  </a:lnTo>
                  <a:lnTo>
                    <a:pt x="328" y="331"/>
                  </a:lnTo>
                  <a:lnTo>
                    <a:pt x="322" y="329"/>
                  </a:lnTo>
                  <a:lnTo>
                    <a:pt x="314" y="328"/>
                  </a:lnTo>
                  <a:lnTo>
                    <a:pt x="308" y="328"/>
                  </a:lnTo>
                  <a:lnTo>
                    <a:pt x="251" y="328"/>
                  </a:lnTo>
                  <a:lnTo>
                    <a:pt x="444" y="136"/>
                  </a:lnTo>
                  <a:lnTo>
                    <a:pt x="449" y="130"/>
                  </a:lnTo>
                  <a:lnTo>
                    <a:pt x="453" y="124"/>
                  </a:lnTo>
                  <a:lnTo>
                    <a:pt x="458" y="116"/>
                  </a:lnTo>
                  <a:lnTo>
                    <a:pt x="461" y="110"/>
                  </a:lnTo>
                  <a:lnTo>
                    <a:pt x="463" y="102"/>
                  </a:lnTo>
                  <a:lnTo>
                    <a:pt x="465" y="95"/>
                  </a:lnTo>
                  <a:lnTo>
                    <a:pt x="466" y="87"/>
                  </a:lnTo>
                  <a:lnTo>
                    <a:pt x="467" y="80"/>
                  </a:lnTo>
                  <a:lnTo>
                    <a:pt x="466" y="72"/>
                  </a:lnTo>
                  <a:lnTo>
                    <a:pt x="465" y="64"/>
                  </a:lnTo>
                  <a:lnTo>
                    <a:pt x="463" y="57"/>
                  </a:lnTo>
                  <a:lnTo>
                    <a:pt x="461" y="49"/>
                  </a:lnTo>
                  <a:lnTo>
                    <a:pt x="458" y="42"/>
                  </a:lnTo>
                  <a:lnTo>
                    <a:pt x="453" y="35"/>
                  </a:lnTo>
                  <a:lnTo>
                    <a:pt x="449" y="29"/>
                  </a:lnTo>
                  <a:lnTo>
                    <a:pt x="444" y="22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25">
              <a:extLst>
                <a:ext uri="{FF2B5EF4-FFF2-40B4-BE49-F238E27FC236}">
                  <a16:creationId xmlns:a16="http://schemas.microsoft.com/office/drawing/2014/main" id="{1A4CC35F-B749-497F-B1EF-3B7A2BEB37BE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0459" y="4505364"/>
              <a:ext cx="222900" cy="222900"/>
            </a:xfrm>
            <a:custGeom>
              <a:avLst/>
              <a:gdLst>
                <a:gd name="T0" fmla="*/ 391 w 468"/>
                <a:gd name="T1" fmla="*/ 70 h 467"/>
                <a:gd name="T2" fmla="*/ 377 w 468"/>
                <a:gd name="T3" fmla="*/ 73 h 467"/>
                <a:gd name="T4" fmla="*/ 365 w 468"/>
                <a:gd name="T5" fmla="*/ 77 h 467"/>
                <a:gd name="T6" fmla="*/ 355 w 468"/>
                <a:gd name="T7" fmla="*/ 85 h 467"/>
                <a:gd name="T8" fmla="*/ 345 w 468"/>
                <a:gd name="T9" fmla="*/ 95 h 467"/>
                <a:gd name="T10" fmla="*/ 337 w 468"/>
                <a:gd name="T11" fmla="*/ 105 h 467"/>
                <a:gd name="T12" fmla="*/ 332 w 468"/>
                <a:gd name="T13" fmla="*/ 118 h 467"/>
                <a:gd name="T14" fmla="*/ 329 w 468"/>
                <a:gd name="T15" fmla="*/ 132 h 467"/>
                <a:gd name="T16" fmla="*/ 329 w 468"/>
                <a:gd name="T17" fmla="*/ 215 h 467"/>
                <a:gd name="T18" fmla="*/ 131 w 468"/>
                <a:gd name="T19" fmla="*/ 17 h 467"/>
                <a:gd name="T20" fmla="*/ 118 w 468"/>
                <a:gd name="T21" fmla="*/ 8 h 467"/>
                <a:gd name="T22" fmla="*/ 104 w 468"/>
                <a:gd name="T23" fmla="*/ 3 h 467"/>
                <a:gd name="T24" fmla="*/ 89 w 468"/>
                <a:gd name="T25" fmla="*/ 0 h 467"/>
                <a:gd name="T26" fmla="*/ 73 w 468"/>
                <a:gd name="T27" fmla="*/ 0 h 467"/>
                <a:gd name="T28" fmla="*/ 58 w 468"/>
                <a:gd name="T29" fmla="*/ 3 h 467"/>
                <a:gd name="T30" fmla="*/ 43 w 468"/>
                <a:gd name="T31" fmla="*/ 8 h 467"/>
                <a:gd name="T32" fmla="*/ 30 w 468"/>
                <a:gd name="T33" fmla="*/ 17 h 467"/>
                <a:gd name="T34" fmla="*/ 19 w 468"/>
                <a:gd name="T35" fmla="*/ 29 h 467"/>
                <a:gd name="T36" fmla="*/ 10 w 468"/>
                <a:gd name="T37" fmla="*/ 42 h 467"/>
                <a:gd name="T38" fmla="*/ 4 w 468"/>
                <a:gd name="T39" fmla="*/ 57 h 467"/>
                <a:gd name="T40" fmla="*/ 0 w 468"/>
                <a:gd name="T41" fmla="*/ 72 h 467"/>
                <a:gd name="T42" fmla="*/ 0 w 468"/>
                <a:gd name="T43" fmla="*/ 87 h 467"/>
                <a:gd name="T44" fmla="*/ 4 w 468"/>
                <a:gd name="T45" fmla="*/ 102 h 467"/>
                <a:gd name="T46" fmla="*/ 10 w 468"/>
                <a:gd name="T47" fmla="*/ 116 h 467"/>
                <a:gd name="T48" fmla="*/ 19 w 468"/>
                <a:gd name="T49" fmla="*/ 130 h 467"/>
                <a:gd name="T50" fmla="*/ 215 w 468"/>
                <a:gd name="T51" fmla="*/ 328 h 467"/>
                <a:gd name="T52" fmla="*/ 153 w 468"/>
                <a:gd name="T53" fmla="*/ 328 h 467"/>
                <a:gd name="T54" fmla="*/ 140 w 468"/>
                <a:gd name="T55" fmla="*/ 331 h 467"/>
                <a:gd name="T56" fmla="*/ 127 w 468"/>
                <a:gd name="T57" fmla="*/ 337 h 467"/>
                <a:gd name="T58" fmla="*/ 116 w 468"/>
                <a:gd name="T59" fmla="*/ 344 h 467"/>
                <a:gd name="T60" fmla="*/ 106 w 468"/>
                <a:gd name="T61" fmla="*/ 353 h 467"/>
                <a:gd name="T62" fmla="*/ 99 w 468"/>
                <a:gd name="T63" fmla="*/ 364 h 467"/>
                <a:gd name="T64" fmla="*/ 93 w 468"/>
                <a:gd name="T65" fmla="*/ 377 h 467"/>
                <a:gd name="T66" fmla="*/ 91 w 468"/>
                <a:gd name="T67" fmla="*/ 391 h 467"/>
                <a:gd name="T68" fmla="*/ 91 w 468"/>
                <a:gd name="T69" fmla="*/ 405 h 467"/>
                <a:gd name="T70" fmla="*/ 93 w 468"/>
                <a:gd name="T71" fmla="*/ 418 h 467"/>
                <a:gd name="T72" fmla="*/ 99 w 468"/>
                <a:gd name="T73" fmla="*/ 431 h 467"/>
                <a:gd name="T74" fmla="*/ 106 w 468"/>
                <a:gd name="T75" fmla="*/ 441 h 467"/>
                <a:gd name="T76" fmla="*/ 116 w 468"/>
                <a:gd name="T77" fmla="*/ 451 h 467"/>
                <a:gd name="T78" fmla="*/ 127 w 468"/>
                <a:gd name="T79" fmla="*/ 459 h 467"/>
                <a:gd name="T80" fmla="*/ 140 w 468"/>
                <a:gd name="T81" fmla="*/ 464 h 467"/>
                <a:gd name="T82" fmla="*/ 153 w 468"/>
                <a:gd name="T83" fmla="*/ 466 h 467"/>
                <a:gd name="T84" fmla="*/ 458 w 468"/>
                <a:gd name="T85" fmla="*/ 467 h 467"/>
                <a:gd name="T86" fmla="*/ 465 w 468"/>
                <a:gd name="T87" fmla="*/ 464 h 467"/>
                <a:gd name="T88" fmla="*/ 468 w 468"/>
                <a:gd name="T89" fmla="*/ 456 h 467"/>
                <a:gd name="T90" fmla="*/ 468 w 468"/>
                <a:gd name="T91" fmla="*/ 131 h 467"/>
                <a:gd name="T92" fmla="*/ 465 w 468"/>
                <a:gd name="T93" fmla="*/ 118 h 467"/>
                <a:gd name="T94" fmla="*/ 459 w 468"/>
                <a:gd name="T95" fmla="*/ 105 h 467"/>
                <a:gd name="T96" fmla="*/ 452 w 468"/>
                <a:gd name="T97" fmla="*/ 95 h 467"/>
                <a:gd name="T98" fmla="*/ 442 w 468"/>
                <a:gd name="T99" fmla="*/ 85 h 467"/>
                <a:gd name="T100" fmla="*/ 431 w 468"/>
                <a:gd name="T101" fmla="*/ 77 h 467"/>
                <a:gd name="T102" fmla="*/ 419 w 468"/>
                <a:gd name="T103" fmla="*/ 73 h 467"/>
                <a:gd name="T104" fmla="*/ 405 w 468"/>
                <a:gd name="T105" fmla="*/ 70 h 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68" h="467">
                  <a:moveTo>
                    <a:pt x="398" y="70"/>
                  </a:moveTo>
                  <a:lnTo>
                    <a:pt x="391" y="70"/>
                  </a:lnTo>
                  <a:lnTo>
                    <a:pt x="385" y="71"/>
                  </a:lnTo>
                  <a:lnTo>
                    <a:pt x="377" y="73"/>
                  </a:lnTo>
                  <a:lnTo>
                    <a:pt x="371" y="75"/>
                  </a:lnTo>
                  <a:lnTo>
                    <a:pt x="365" y="77"/>
                  </a:lnTo>
                  <a:lnTo>
                    <a:pt x="360" y="82"/>
                  </a:lnTo>
                  <a:lnTo>
                    <a:pt x="355" y="85"/>
                  </a:lnTo>
                  <a:lnTo>
                    <a:pt x="349" y="90"/>
                  </a:lnTo>
                  <a:lnTo>
                    <a:pt x="345" y="95"/>
                  </a:lnTo>
                  <a:lnTo>
                    <a:pt x="341" y="100"/>
                  </a:lnTo>
                  <a:lnTo>
                    <a:pt x="337" y="105"/>
                  </a:lnTo>
                  <a:lnTo>
                    <a:pt x="334" y="112"/>
                  </a:lnTo>
                  <a:lnTo>
                    <a:pt x="332" y="118"/>
                  </a:lnTo>
                  <a:lnTo>
                    <a:pt x="330" y="125"/>
                  </a:lnTo>
                  <a:lnTo>
                    <a:pt x="329" y="132"/>
                  </a:lnTo>
                  <a:lnTo>
                    <a:pt x="329" y="139"/>
                  </a:lnTo>
                  <a:lnTo>
                    <a:pt x="329" y="215"/>
                  </a:lnTo>
                  <a:lnTo>
                    <a:pt x="138" y="22"/>
                  </a:lnTo>
                  <a:lnTo>
                    <a:pt x="131" y="17"/>
                  </a:lnTo>
                  <a:lnTo>
                    <a:pt x="125" y="13"/>
                  </a:lnTo>
                  <a:lnTo>
                    <a:pt x="118" y="8"/>
                  </a:lnTo>
                  <a:lnTo>
                    <a:pt x="112" y="5"/>
                  </a:lnTo>
                  <a:lnTo>
                    <a:pt x="104" y="3"/>
                  </a:lnTo>
                  <a:lnTo>
                    <a:pt x="97" y="1"/>
                  </a:lnTo>
                  <a:lnTo>
                    <a:pt x="89" y="0"/>
                  </a:lnTo>
                  <a:lnTo>
                    <a:pt x="80" y="0"/>
                  </a:lnTo>
                  <a:lnTo>
                    <a:pt x="73" y="0"/>
                  </a:lnTo>
                  <a:lnTo>
                    <a:pt x="65" y="1"/>
                  </a:lnTo>
                  <a:lnTo>
                    <a:pt x="58" y="3"/>
                  </a:lnTo>
                  <a:lnTo>
                    <a:pt x="50" y="5"/>
                  </a:lnTo>
                  <a:lnTo>
                    <a:pt x="43" y="8"/>
                  </a:lnTo>
                  <a:lnTo>
                    <a:pt x="36" y="13"/>
                  </a:lnTo>
                  <a:lnTo>
                    <a:pt x="30" y="17"/>
                  </a:lnTo>
                  <a:lnTo>
                    <a:pt x="24" y="22"/>
                  </a:lnTo>
                  <a:lnTo>
                    <a:pt x="19" y="29"/>
                  </a:lnTo>
                  <a:lnTo>
                    <a:pt x="13" y="35"/>
                  </a:lnTo>
                  <a:lnTo>
                    <a:pt x="10" y="42"/>
                  </a:lnTo>
                  <a:lnTo>
                    <a:pt x="7" y="49"/>
                  </a:lnTo>
                  <a:lnTo>
                    <a:pt x="4" y="57"/>
                  </a:lnTo>
                  <a:lnTo>
                    <a:pt x="2" y="64"/>
                  </a:lnTo>
                  <a:lnTo>
                    <a:pt x="0" y="72"/>
                  </a:lnTo>
                  <a:lnTo>
                    <a:pt x="0" y="80"/>
                  </a:lnTo>
                  <a:lnTo>
                    <a:pt x="0" y="87"/>
                  </a:lnTo>
                  <a:lnTo>
                    <a:pt x="2" y="95"/>
                  </a:lnTo>
                  <a:lnTo>
                    <a:pt x="4" y="102"/>
                  </a:lnTo>
                  <a:lnTo>
                    <a:pt x="6" y="110"/>
                  </a:lnTo>
                  <a:lnTo>
                    <a:pt x="10" y="116"/>
                  </a:lnTo>
                  <a:lnTo>
                    <a:pt x="13" y="124"/>
                  </a:lnTo>
                  <a:lnTo>
                    <a:pt x="19" y="130"/>
                  </a:lnTo>
                  <a:lnTo>
                    <a:pt x="24" y="136"/>
                  </a:lnTo>
                  <a:lnTo>
                    <a:pt x="215" y="328"/>
                  </a:lnTo>
                  <a:lnTo>
                    <a:pt x="160" y="328"/>
                  </a:lnTo>
                  <a:lnTo>
                    <a:pt x="153" y="328"/>
                  </a:lnTo>
                  <a:lnTo>
                    <a:pt x="146" y="329"/>
                  </a:lnTo>
                  <a:lnTo>
                    <a:pt x="140" y="331"/>
                  </a:lnTo>
                  <a:lnTo>
                    <a:pt x="133" y="333"/>
                  </a:lnTo>
                  <a:lnTo>
                    <a:pt x="127" y="337"/>
                  </a:lnTo>
                  <a:lnTo>
                    <a:pt x="121" y="340"/>
                  </a:lnTo>
                  <a:lnTo>
                    <a:pt x="116" y="344"/>
                  </a:lnTo>
                  <a:lnTo>
                    <a:pt x="111" y="348"/>
                  </a:lnTo>
                  <a:lnTo>
                    <a:pt x="106" y="353"/>
                  </a:lnTo>
                  <a:lnTo>
                    <a:pt x="102" y="358"/>
                  </a:lnTo>
                  <a:lnTo>
                    <a:pt x="99" y="364"/>
                  </a:lnTo>
                  <a:lnTo>
                    <a:pt x="97" y="370"/>
                  </a:lnTo>
                  <a:lnTo>
                    <a:pt x="93" y="377"/>
                  </a:lnTo>
                  <a:lnTo>
                    <a:pt x="92" y="383"/>
                  </a:lnTo>
                  <a:lnTo>
                    <a:pt x="91" y="391"/>
                  </a:lnTo>
                  <a:lnTo>
                    <a:pt x="90" y="397"/>
                  </a:lnTo>
                  <a:lnTo>
                    <a:pt x="91" y="405"/>
                  </a:lnTo>
                  <a:lnTo>
                    <a:pt x="92" y="411"/>
                  </a:lnTo>
                  <a:lnTo>
                    <a:pt x="93" y="418"/>
                  </a:lnTo>
                  <a:lnTo>
                    <a:pt x="97" y="424"/>
                  </a:lnTo>
                  <a:lnTo>
                    <a:pt x="99" y="431"/>
                  </a:lnTo>
                  <a:lnTo>
                    <a:pt x="102" y="436"/>
                  </a:lnTo>
                  <a:lnTo>
                    <a:pt x="106" y="441"/>
                  </a:lnTo>
                  <a:lnTo>
                    <a:pt x="111" y="447"/>
                  </a:lnTo>
                  <a:lnTo>
                    <a:pt x="116" y="451"/>
                  </a:lnTo>
                  <a:lnTo>
                    <a:pt x="121" y="455"/>
                  </a:lnTo>
                  <a:lnTo>
                    <a:pt x="127" y="459"/>
                  </a:lnTo>
                  <a:lnTo>
                    <a:pt x="133" y="461"/>
                  </a:lnTo>
                  <a:lnTo>
                    <a:pt x="140" y="464"/>
                  </a:lnTo>
                  <a:lnTo>
                    <a:pt x="146" y="465"/>
                  </a:lnTo>
                  <a:lnTo>
                    <a:pt x="153" y="466"/>
                  </a:lnTo>
                  <a:lnTo>
                    <a:pt x="160" y="467"/>
                  </a:lnTo>
                  <a:lnTo>
                    <a:pt x="458" y="467"/>
                  </a:lnTo>
                  <a:lnTo>
                    <a:pt x="462" y="466"/>
                  </a:lnTo>
                  <a:lnTo>
                    <a:pt x="465" y="464"/>
                  </a:lnTo>
                  <a:lnTo>
                    <a:pt x="467" y="461"/>
                  </a:lnTo>
                  <a:lnTo>
                    <a:pt x="468" y="456"/>
                  </a:lnTo>
                  <a:lnTo>
                    <a:pt x="468" y="139"/>
                  </a:lnTo>
                  <a:lnTo>
                    <a:pt x="468" y="131"/>
                  </a:lnTo>
                  <a:lnTo>
                    <a:pt x="467" y="125"/>
                  </a:lnTo>
                  <a:lnTo>
                    <a:pt x="465" y="118"/>
                  </a:lnTo>
                  <a:lnTo>
                    <a:pt x="463" y="112"/>
                  </a:lnTo>
                  <a:lnTo>
                    <a:pt x="459" y="105"/>
                  </a:lnTo>
                  <a:lnTo>
                    <a:pt x="456" y="100"/>
                  </a:lnTo>
                  <a:lnTo>
                    <a:pt x="452" y="95"/>
                  </a:lnTo>
                  <a:lnTo>
                    <a:pt x="448" y="90"/>
                  </a:lnTo>
                  <a:lnTo>
                    <a:pt x="442" y="85"/>
                  </a:lnTo>
                  <a:lnTo>
                    <a:pt x="437" y="82"/>
                  </a:lnTo>
                  <a:lnTo>
                    <a:pt x="431" y="77"/>
                  </a:lnTo>
                  <a:lnTo>
                    <a:pt x="426" y="75"/>
                  </a:lnTo>
                  <a:lnTo>
                    <a:pt x="419" y="73"/>
                  </a:lnTo>
                  <a:lnTo>
                    <a:pt x="412" y="71"/>
                  </a:lnTo>
                  <a:lnTo>
                    <a:pt x="405" y="70"/>
                  </a:lnTo>
                  <a:lnTo>
                    <a:pt x="398" y="7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24">
              <a:extLst>
                <a:ext uri="{FF2B5EF4-FFF2-40B4-BE49-F238E27FC236}">
                  <a16:creationId xmlns:a16="http://schemas.microsoft.com/office/drawing/2014/main" id="{A4867EC8-4613-4C91-A0E6-42D7D8BA8A7E}"/>
                </a:ext>
              </a:extLst>
            </p:cNvPr>
            <p:cNvSpPr>
              <a:spLocks/>
            </p:cNvSpPr>
            <p:nvPr/>
          </p:nvSpPr>
          <p:spPr bwMode="auto">
            <a:xfrm flipV="1">
              <a:off x="4108642" y="2752036"/>
              <a:ext cx="222900" cy="222900"/>
            </a:xfrm>
            <a:custGeom>
              <a:avLst/>
              <a:gdLst>
                <a:gd name="T0" fmla="*/ 437 w 467"/>
                <a:gd name="T1" fmla="*/ 17 h 467"/>
                <a:gd name="T2" fmla="*/ 424 w 467"/>
                <a:gd name="T3" fmla="*/ 8 h 467"/>
                <a:gd name="T4" fmla="*/ 410 w 467"/>
                <a:gd name="T5" fmla="*/ 3 h 467"/>
                <a:gd name="T6" fmla="*/ 395 w 467"/>
                <a:gd name="T7" fmla="*/ 0 h 467"/>
                <a:gd name="T8" fmla="*/ 379 w 467"/>
                <a:gd name="T9" fmla="*/ 0 h 467"/>
                <a:gd name="T10" fmla="*/ 364 w 467"/>
                <a:gd name="T11" fmla="*/ 3 h 467"/>
                <a:gd name="T12" fmla="*/ 349 w 467"/>
                <a:gd name="T13" fmla="*/ 8 h 467"/>
                <a:gd name="T14" fmla="*/ 336 w 467"/>
                <a:gd name="T15" fmla="*/ 17 h 467"/>
                <a:gd name="T16" fmla="*/ 138 w 467"/>
                <a:gd name="T17" fmla="*/ 215 h 467"/>
                <a:gd name="T18" fmla="*/ 138 w 467"/>
                <a:gd name="T19" fmla="*/ 131 h 467"/>
                <a:gd name="T20" fmla="*/ 136 w 467"/>
                <a:gd name="T21" fmla="*/ 118 h 467"/>
                <a:gd name="T22" fmla="*/ 130 w 467"/>
                <a:gd name="T23" fmla="*/ 105 h 467"/>
                <a:gd name="T24" fmla="*/ 123 w 467"/>
                <a:gd name="T25" fmla="*/ 95 h 467"/>
                <a:gd name="T26" fmla="*/ 113 w 467"/>
                <a:gd name="T27" fmla="*/ 85 h 467"/>
                <a:gd name="T28" fmla="*/ 102 w 467"/>
                <a:gd name="T29" fmla="*/ 77 h 467"/>
                <a:gd name="T30" fmla="*/ 89 w 467"/>
                <a:gd name="T31" fmla="*/ 73 h 467"/>
                <a:gd name="T32" fmla="*/ 76 w 467"/>
                <a:gd name="T33" fmla="*/ 70 h 467"/>
                <a:gd name="T34" fmla="*/ 62 w 467"/>
                <a:gd name="T35" fmla="*/ 70 h 467"/>
                <a:gd name="T36" fmla="*/ 48 w 467"/>
                <a:gd name="T37" fmla="*/ 73 h 467"/>
                <a:gd name="T38" fmla="*/ 35 w 467"/>
                <a:gd name="T39" fmla="*/ 77 h 467"/>
                <a:gd name="T40" fmla="*/ 25 w 467"/>
                <a:gd name="T41" fmla="*/ 85 h 467"/>
                <a:gd name="T42" fmla="*/ 15 w 467"/>
                <a:gd name="T43" fmla="*/ 95 h 467"/>
                <a:gd name="T44" fmla="*/ 7 w 467"/>
                <a:gd name="T45" fmla="*/ 105 h 467"/>
                <a:gd name="T46" fmla="*/ 3 w 467"/>
                <a:gd name="T47" fmla="*/ 118 h 467"/>
                <a:gd name="T48" fmla="*/ 0 w 467"/>
                <a:gd name="T49" fmla="*/ 132 h 467"/>
                <a:gd name="T50" fmla="*/ 0 w 467"/>
                <a:gd name="T51" fmla="*/ 456 h 467"/>
                <a:gd name="T52" fmla="*/ 2 w 467"/>
                <a:gd name="T53" fmla="*/ 464 h 467"/>
                <a:gd name="T54" fmla="*/ 10 w 467"/>
                <a:gd name="T55" fmla="*/ 467 h 467"/>
                <a:gd name="T56" fmla="*/ 314 w 467"/>
                <a:gd name="T57" fmla="*/ 466 h 467"/>
                <a:gd name="T58" fmla="*/ 328 w 467"/>
                <a:gd name="T59" fmla="*/ 464 h 467"/>
                <a:gd name="T60" fmla="*/ 340 w 467"/>
                <a:gd name="T61" fmla="*/ 459 h 467"/>
                <a:gd name="T62" fmla="*/ 352 w 467"/>
                <a:gd name="T63" fmla="*/ 451 h 467"/>
                <a:gd name="T64" fmla="*/ 360 w 467"/>
                <a:gd name="T65" fmla="*/ 441 h 467"/>
                <a:gd name="T66" fmla="*/ 368 w 467"/>
                <a:gd name="T67" fmla="*/ 431 h 467"/>
                <a:gd name="T68" fmla="*/ 373 w 467"/>
                <a:gd name="T69" fmla="*/ 418 h 467"/>
                <a:gd name="T70" fmla="*/ 377 w 467"/>
                <a:gd name="T71" fmla="*/ 405 h 467"/>
                <a:gd name="T72" fmla="*/ 377 w 467"/>
                <a:gd name="T73" fmla="*/ 391 h 467"/>
                <a:gd name="T74" fmla="*/ 373 w 467"/>
                <a:gd name="T75" fmla="*/ 377 h 467"/>
                <a:gd name="T76" fmla="*/ 368 w 467"/>
                <a:gd name="T77" fmla="*/ 364 h 467"/>
                <a:gd name="T78" fmla="*/ 360 w 467"/>
                <a:gd name="T79" fmla="*/ 353 h 467"/>
                <a:gd name="T80" fmla="*/ 352 w 467"/>
                <a:gd name="T81" fmla="*/ 344 h 467"/>
                <a:gd name="T82" fmla="*/ 340 w 467"/>
                <a:gd name="T83" fmla="*/ 337 h 467"/>
                <a:gd name="T84" fmla="*/ 328 w 467"/>
                <a:gd name="T85" fmla="*/ 331 h 467"/>
                <a:gd name="T86" fmla="*/ 314 w 467"/>
                <a:gd name="T87" fmla="*/ 328 h 467"/>
                <a:gd name="T88" fmla="*/ 251 w 467"/>
                <a:gd name="T89" fmla="*/ 328 h 467"/>
                <a:gd name="T90" fmla="*/ 449 w 467"/>
                <a:gd name="T91" fmla="*/ 130 h 467"/>
                <a:gd name="T92" fmla="*/ 458 w 467"/>
                <a:gd name="T93" fmla="*/ 116 h 467"/>
                <a:gd name="T94" fmla="*/ 463 w 467"/>
                <a:gd name="T95" fmla="*/ 102 h 467"/>
                <a:gd name="T96" fmla="*/ 466 w 467"/>
                <a:gd name="T97" fmla="*/ 87 h 467"/>
                <a:gd name="T98" fmla="*/ 466 w 467"/>
                <a:gd name="T99" fmla="*/ 72 h 467"/>
                <a:gd name="T100" fmla="*/ 463 w 467"/>
                <a:gd name="T101" fmla="*/ 57 h 467"/>
                <a:gd name="T102" fmla="*/ 458 w 467"/>
                <a:gd name="T103" fmla="*/ 42 h 467"/>
                <a:gd name="T104" fmla="*/ 449 w 467"/>
                <a:gd name="T105" fmla="*/ 29 h 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67" h="467">
                  <a:moveTo>
                    <a:pt x="444" y="22"/>
                  </a:moveTo>
                  <a:lnTo>
                    <a:pt x="437" y="17"/>
                  </a:lnTo>
                  <a:lnTo>
                    <a:pt x="431" y="13"/>
                  </a:lnTo>
                  <a:lnTo>
                    <a:pt x="424" y="8"/>
                  </a:lnTo>
                  <a:lnTo>
                    <a:pt x="418" y="5"/>
                  </a:lnTo>
                  <a:lnTo>
                    <a:pt x="410" y="3"/>
                  </a:lnTo>
                  <a:lnTo>
                    <a:pt x="403" y="1"/>
                  </a:lnTo>
                  <a:lnTo>
                    <a:pt x="395" y="0"/>
                  </a:lnTo>
                  <a:lnTo>
                    <a:pt x="386" y="0"/>
                  </a:lnTo>
                  <a:lnTo>
                    <a:pt x="379" y="0"/>
                  </a:lnTo>
                  <a:lnTo>
                    <a:pt x="371" y="1"/>
                  </a:lnTo>
                  <a:lnTo>
                    <a:pt x="364" y="3"/>
                  </a:lnTo>
                  <a:lnTo>
                    <a:pt x="356" y="5"/>
                  </a:lnTo>
                  <a:lnTo>
                    <a:pt x="349" y="8"/>
                  </a:lnTo>
                  <a:lnTo>
                    <a:pt x="342" y="13"/>
                  </a:lnTo>
                  <a:lnTo>
                    <a:pt x="336" y="17"/>
                  </a:lnTo>
                  <a:lnTo>
                    <a:pt x="330" y="22"/>
                  </a:lnTo>
                  <a:lnTo>
                    <a:pt x="138" y="215"/>
                  </a:lnTo>
                  <a:lnTo>
                    <a:pt x="138" y="139"/>
                  </a:lnTo>
                  <a:lnTo>
                    <a:pt x="138" y="131"/>
                  </a:lnTo>
                  <a:lnTo>
                    <a:pt x="137" y="125"/>
                  </a:lnTo>
                  <a:lnTo>
                    <a:pt x="136" y="118"/>
                  </a:lnTo>
                  <a:lnTo>
                    <a:pt x="133" y="112"/>
                  </a:lnTo>
                  <a:lnTo>
                    <a:pt x="130" y="105"/>
                  </a:lnTo>
                  <a:lnTo>
                    <a:pt x="126" y="100"/>
                  </a:lnTo>
                  <a:lnTo>
                    <a:pt x="123" y="95"/>
                  </a:lnTo>
                  <a:lnTo>
                    <a:pt x="119" y="90"/>
                  </a:lnTo>
                  <a:lnTo>
                    <a:pt x="113" y="85"/>
                  </a:lnTo>
                  <a:lnTo>
                    <a:pt x="108" y="82"/>
                  </a:lnTo>
                  <a:lnTo>
                    <a:pt x="102" y="77"/>
                  </a:lnTo>
                  <a:lnTo>
                    <a:pt x="96" y="75"/>
                  </a:lnTo>
                  <a:lnTo>
                    <a:pt x="89" y="73"/>
                  </a:lnTo>
                  <a:lnTo>
                    <a:pt x="83" y="71"/>
                  </a:lnTo>
                  <a:lnTo>
                    <a:pt x="76" y="70"/>
                  </a:lnTo>
                  <a:lnTo>
                    <a:pt x="69" y="70"/>
                  </a:lnTo>
                  <a:lnTo>
                    <a:pt x="62" y="70"/>
                  </a:lnTo>
                  <a:lnTo>
                    <a:pt x="55" y="71"/>
                  </a:lnTo>
                  <a:lnTo>
                    <a:pt x="48" y="73"/>
                  </a:lnTo>
                  <a:lnTo>
                    <a:pt x="42" y="75"/>
                  </a:lnTo>
                  <a:lnTo>
                    <a:pt x="35" y="77"/>
                  </a:lnTo>
                  <a:lnTo>
                    <a:pt x="30" y="82"/>
                  </a:lnTo>
                  <a:lnTo>
                    <a:pt x="25" y="85"/>
                  </a:lnTo>
                  <a:lnTo>
                    <a:pt x="20" y="90"/>
                  </a:lnTo>
                  <a:lnTo>
                    <a:pt x="15" y="95"/>
                  </a:lnTo>
                  <a:lnTo>
                    <a:pt x="12" y="100"/>
                  </a:lnTo>
                  <a:lnTo>
                    <a:pt x="7" y="105"/>
                  </a:lnTo>
                  <a:lnTo>
                    <a:pt x="5" y="112"/>
                  </a:lnTo>
                  <a:lnTo>
                    <a:pt x="3" y="118"/>
                  </a:lnTo>
                  <a:lnTo>
                    <a:pt x="1" y="125"/>
                  </a:lnTo>
                  <a:lnTo>
                    <a:pt x="0" y="132"/>
                  </a:lnTo>
                  <a:lnTo>
                    <a:pt x="0" y="139"/>
                  </a:lnTo>
                  <a:lnTo>
                    <a:pt x="0" y="456"/>
                  </a:lnTo>
                  <a:lnTo>
                    <a:pt x="0" y="461"/>
                  </a:lnTo>
                  <a:lnTo>
                    <a:pt x="2" y="464"/>
                  </a:lnTo>
                  <a:lnTo>
                    <a:pt x="5" y="466"/>
                  </a:lnTo>
                  <a:lnTo>
                    <a:pt x="10" y="467"/>
                  </a:lnTo>
                  <a:lnTo>
                    <a:pt x="308" y="467"/>
                  </a:lnTo>
                  <a:lnTo>
                    <a:pt x="314" y="466"/>
                  </a:lnTo>
                  <a:lnTo>
                    <a:pt x="322" y="465"/>
                  </a:lnTo>
                  <a:lnTo>
                    <a:pt x="328" y="464"/>
                  </a:lnTo>
                  <a:lnTo>
                    <a:pt x="335" y="461"/>
                  </a:lnTo>
                  <a:lnTo>
                    <a:pt x="340" y="459"/>
                  </a:lnTo>
                  <a:lnTo>
                    <a:pt x="346" y="455"/>
                  </a:lnTo>
                  <a:lnTo>
                    <a:pt x="352" y="451"/>
                  </a:lnTo>
                  <a:lnTo>
                    <a:pt x="356" y="447"/>
                  </a:lnTo>
                  <a:lnTo>
                    <a:pt x="360" y="441"/>
                  </a:lnTo>
                  <a:lnTo>
                    <a:pt x="365" y="436"/>
                  </a:lnTo>
                  <a:lnTo>
                    <a:pt x="368" y="431"/>
                  </a:lnTo>
                  <a:lnTo>
                    <a:pt x="371" y="424"/>
                  </a:lnTo>
                  <a:lnTo>
                    <a:pt x="373" y="418"/>
                  </a:lnTo>
                  <a:lnTo>
                    <a:pt x="376" y="411"/>
                  </a:lnTo>
                  <a:lnTo>
                    <a:pt x="377" y="405"/>
                  </a:lnTo>
                  <a:lnTo>
                    <a:pt x="377" y="397"/>
                  </a:lnTo>
                  <a:lnTo>
                    <a:pt x="377" y="391"/>
                  </a:lnTo>
                  <a:lnTo>
                    <a:pt x="376" y="383"/>
                  </a:lnTo>
                  <a:lnTo>
                    <a:pt x="373" y="377"/>
                  </a:lnTo>
                  <a:lnTo>
                    <a:pt x="371" y="370"/>
                  </a:lnTo>
                  <a:lnTo>
                    <a:pt x="368" y="364"/>
                  </a:lnTo>
                  <a:lnTo>
                    <a:pt x="365" y="358"/>
                  </a:lnTo>
                  <a:lnTo>
                    <a:pt x="360" y="353"/>
                  </a:lnTo>
                  <a:lnTo>
                    <a:pt x="356" y="348"/>
                  </a:lnTo>
                  <a:lnTo>
                    <a:pt x="352" y="344"/>
                  </a:lnTo>
                  <a:lnTo>
                    <a:pt x="346" y="340"/>
                  </a:lnTo>
                  <a:lnTo>
                    <a:pt x="340" y="337"/>
                  </a:lnTo>
                  <a:lnTo>
                    <a:pt x="335" y="333"/>
                  </a:lnTo>
                  <a:lnTo>
                    <a:pt x="328" y="331"/>
                  </a:lnTo>
                  <a:lnTo>
                    <a:pt x="322" y="329"/>
                  </a:lnTo>
                  <a:lnTo>
                    <a:pt x="314" y="328"/>
                  </a:lnTo>
                  <a:lnTo>
                    <a:pt x="308" y="328"/>
                  </a:lnTo>
                  <a:lnTo>
                    <a:pt x="251" y="328"/>
                  </a:lnTo>
                  <a:lnTo>
                    <a:pt x="444" y="136"/>
                  </a:lnTo>
                  <a:lnTo>
                    <a:pt x="449" y="130"/>
                  </a:lnTo>
                  <a:lnTo>
                    <a:pt x="453" y="124"/>
                  </a:lnTo>
                  <a:lnTo>
                    <a:pt x="458" y="116"/>
                  </a:lnTo>
                  <a:lnTo>
                    <a:pt x="461" y="110"/>
                  </a:lnTo>
                  <a:lnTo>
                    <a:pt x="463" y="102"/>
                  </a:lnTo>
                  <a:lnTo>
                    <a:pt x="465" y="95"/>
                  </a:lnTo>
                  <a:lnTo>
                    <a:pt x="466" y="87"/>
                  </a:lnTo>
                  <a:lnTo>
                    <a:pt x="467" y="80"/>
                  </a:lnTo>
                  <a:lnTo>
                    <a:pt x="466" y="72"/>
                  </a:lnTo>
                  <a:lnTo>
                    <a:pt x="465" y="64"/>
                  </a:lnTo>
                  <a:lnTo>
                    <a:pt x="463" y="57"/>
                  </a:lnTo>
                  <a:lnTo>
                    <a:pt x="461" y="49"/>
                  </a:lnTo>
                  <a:lnTo>
                    <a:pt x="458" y="42"/>
                  </a:lnTo>
                  <a:lnTo>
                    <a:pt x="453" y="35"/>
                  </a:lnTo>
                  <a:lnTo>
                    <a:pt x="449" y="29"/>
                  </a:lnTo>
                  <a:lnTo>
                    <a:pt x="444" y="22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25">
              <a:extLst>
                <a:ext uri="{FF2B5EF4-FFF2-40B4-BE49-F238E27FC236}">
                  <a16:creationId xmlns:a16="http://schemas.microsoft.com/office/drawing/2014/main" id="{E9403A3C-EEE6-489D-973F-1BA30D6AF937}"/>
                </a:ext>
              </a:extLst>
            </p:cNvPr>
            <p:cNvSpPr>
              <a:spLocks/>
            </p:cNvSpPr>
            <p:nvPr/>
          </p:nvSpPr>
          <p:spPr bwMode="auto">
            <a:xfrm flipV="1">
              <a:off x="7860459" y="2752036"/>
              <a:ext cx="222900" cy="222900"/>
            </a:xfrm>
            <a:custGeom>
              <a:avLst/>
              <a:gdLst>
                <a:gd name="T0" fmla="*/ 391 w 468"/>
                <a:gd name="T1" fmla="*/ 70 h 467"/>
                <a:gd name="T2" fmla="*/ 377 w 468"/>
                <a:gd name="T3" fmla="*/ 73 h 467"/>
                <a:gd name="T4" fmla="*/ 365 w 468"/>
                <a:gd name="T5" fmla="*/ 77 h 467"/>
                <a:gd name="T6" fmla="*/ 355 w 468"/>
                <a:gd name="T7" fmla="*/ 85 h 467"/>
                <a:gd name="T8" fmla="*/ 345 w 468"/>
                <a:gd name="T9" fmla="*/ 95 h 467"/>
                <a:gd name="T10" fmla="*/ 337 w 468"/>
                <a:gd name="T11" fmla="*/ 105 h 467"/>
                <a:gd name="T12" fmla="*/ 332 w 468"/>
                <a:gd name="T13" fmla="*/ 118 h 467"/>
                <a:gd name="T14" fmla="*/ 329 w 468"/>
                <a:gd name="T15" fmla="*/ 132 h 467"/>
                <a:gd name="T16" fmla="*/ 329 w 468"/>
                <a:gd name="T17" fmla="*/ 215 h 467"/>
                <a:gd name="T18" fmla="*/ 131 w 468"/>
                <a:gd name="T19" fmla="*/ 17 h 467"/>
                <a:gd name="T20" fmla="*/ 118 w 468"/>
                <a:gd name="T21" fmla="*/ 8 h 467"/>
                <a:gd name="T22" fmla="*/ 104 w 468"/>
                <a:gd name="T23" fmla="*/ 3 h 467"/>
                <a:gd name="T24" fmla="*/ 89 w 468"/>
                <a:gd name="T25" fmla="*/ 0 h 467"/>
                <a:gd name="T26" fmla="*/ 73 w 468"/>
                <a:gd name="T27" fmla="*/ 0 h 467"/>
                <a:gd name="T28" fmla="*/ 58 w 468"/>
                <a:gd name="T29" fmla="*/ 3 h 467"/>
                <a:gd name="T30" fmla="*/ 43 w 468"/>
                <a:gd name="T31" fmla="*/ 8 h 467"/>
                <a:gd name="T32" fmla="*/ 30 w 468"/>
                <a:gd name="T33" fmla="*/ 17 h 467"/>
                <a:gd name="T34" fmla="*/ 19 w 468"/>
                <a:gd name="T35" fmla="*/ 29 h 467"/>
                <a:gd name="T36" fmla="*/ 10 w 468"/>
                <a:gd name="T37" fmla="*/ 42 h 467"/>
                <a:gd name="T38" fmla="*/ 4 w 468"/>
                <a:gd name="T39" fmla="*/ 57 h 467"/>
                <a:gd name="T40" fmla="*/ 0 w 468"/>
                <a:gd name="T41" fmla="*/ 72 h 467"/>
                <a:gd name="T42" fmla="*/ 0 w 468"/>
                <a:gd name="T43" fmla="*/ 87 h 467"/>
                <a:gd name="T44" fmla="*/ 4 w 468"/>
                <a:gd name="T45" fmla="*/ 102 h 467"/>
                <a:gd name="T46" fmla="*/ 10 w 468"/>
                <a:gd name="T47" fmla="*/ 116 h 467"/>
                <a:gd name="T48" fmla="*/ 19 w 468"/>
                <a:gd name="T49" fmla="*/ 130 h 467"/>
                <a:gd name="T50" fmla="*/ 215 w 468"/>
                <a:gd name="T51" fmla="*/ 328 h 467"/>
                <a:gd name="T52" fmla="*/ 153 w 468"/>
                <a:gd name="T53" fmla="*/ 328 h 467"/>
                <a:gd name="T54" fmla="*/ 140 w 468"/>
                <a:gd name="T55" fmla="*/ 331 h 467"/>
                <a:gd name="T56" fmla="*/ 127 w 468"/>
                <a:gd name="T57" fmla="*/ 337 h 467"/>
                <a:gd name="T58" fmla="*/ 116 w 468"/>
                <a:gd name="T59" fmla="*/ 344 h 467"/>
                <a:gd name="T60" fmla="*/ 106 w 468"/>
                <a:gd name="T61" fmla="*/ 353 h 467"/>
                <a:gd name="T62" fmla="*/ 99 w 468"/>
                <a:gd name="T63" fmla="*/ 364 h 467"/>
                <a:gd name="T64" fmla="*/ 93 w 468"/>
                <a:gd name="T65" fmla="*/ 377 h 467"/>
                <a:gd name="T66" fmla="*/ 91 w 468"/>
                <a:gd name="T67" fmla="*/ 391 h 467"/>
                <a:gd name="T68" fmla="*/ 91 w 468"/>
                <a:gd name="T69" fmla="*/ 405 h 467"/>
                <a:gd name="T70" fmla="*/ 93 w 468"/>
                <a:gd name="T71" fmla="*/ 418 h 467"/>
                <a:gd name="T72" fmla="*/ 99 w 468"/>
                <a:gd name="T73" fmla="*/ 431 h 467"/>
                <a:gd name="T74" fmla="*/ 106 w 468"/>
                <a:gd name="T75" fmla="*/ 441 h 467"/>
                <a:gd name="T76" fmla="*/ 116 w 468"/>
                <a:gd name="T77" fmla="*/ 451 h 467"/>
                <a:gd name="T78" fmla="*/ 127 w 468"/>
                <a:gd name="T79" fmla="*/ 459 h 467"/>
                <a:gd name="T80" fmla="*/ 140 w 468"/>
                <a:gd name="T81" fmla="*/ 464 h 467"/>
                <a:gd name="T82" fmla="*/ 153 w 468"/>
                <a:gd name="T83" fmla="*/ 466 h 467"/>
                <a:gd name="T84" fmla="*/ 458 w 468"/>
                <a:gd name="T85" fmla="*/ 467 h 467"/>
                <a:gd name="T86" fmla="*/ 465 w 468"/>
                <a:gd name="T87" fmla="*/ 464 h 467"/>
                <a:gd name="T88" fmla="*/ 468 w 468"/>
                <a:gd name="T89" fmla="*/ 456 h 467"/>
                <a:gd name="T90" fmla="*/ 468 w 468"/>
                <a:gd name="T91" fmla="*/ 131 h 467"/>
                <a:gd name="T92" fmla="*/ 465 w 468"/>
                <a:gd name="T93" fmla="*/ 118 h 467"/>
                <a:gd name="T94" fmla="*/ 459 w 468"/>
                <a:gd name="T95" fmla="*/ 105 h 467"/>
                <a:gd name="T96" fmla="*/ 452 w 468"/>
                <a:gd name="T97" fmla="*/ 95 h 467"/>
                <a:gd name="T98" fmla="*/ 442 w 468"/>
                <a:gd name="T99" fmla="*/ 85 h 467"/>
                <a:gd name="T100" fmla="*/ 431 w 468"/>
                <a:gd name="T101" fmla="*/ 77 h 467"/>
                <a:gd name="T102" fmla="*/ 419 w 468"/>
                <a:gd name="T103" fmla="*/ 73 h 467"/>
                <a:gd name="T104" fmla="*/ 405 w 468"/>
                <a:gd name="T105" fmla="*/ 70 h 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68" h="467">
                  <a:moveTo>
                    <a:pt x="398" y="70"/>
                  </a:moveTo>
                  <a:lnTo>
                    <a:pt x="391" y="70"/>
                  </a:lnTo>
                  <a:lnTo>
                    <a:pt x="385" y="71"/>
                  </a:lnTo>
                  <a:lnTo>
                    <a:pt x="377" y="73"/>
                  </a:lnTo>
                  <a:lnTo>
                    <a:pt x="371" y="75"/>
                  </a:lnTo>
                  <a:lnTo>
                    <a:pt x="365" y="77"/>
                  </a:lnTo>
                  <a:lnTo>
                    <a:pt x="360" y="82"/>
                  </a:lnTo>
                  <a:lnTo>
                    <a:pt x="355" y="85"/>
                  </a:lnTo>
                  <a:lnTo>
                    <a:pt x="349" y="90"/>
                  </a:lnTo>
                  <a:lnTo>
                    <a:pt x="345" y="95"/>
                  </a:lnTo>
                  <a:lnTo>
                    <a:pt x="341" y="100"/>
                  </a:lnTo>
                  <a:lnTo>
                    <a:pt x="337" y="105"/>
                  </a:lnTo>
                  <a:lnTo>
                    <a:pt x="334" y="112"/>
                  </a:lnTo>
                  <a:lnTo>
                    <a:pt x="332" y="118"/>
                  </a:lnTo>
                  <a:lnTo>
                    <a:pt x="330" y="125"/>
                  </a:lnTo>
                  <a:lnTo>
                    <a:pt x="329" y="132"/>
                  </a:lnTo>
                  <a:lnTo>
                    <a:pt x="329" y="139"/>
                  </a:lnTo>
                  <a:lnTo>
                    <a:pt x="329" y="215"/>
                  </a:lnTo>
                  <a:lnTo>
                    <a:pt x="138" y="22"/>
                  </a:lnTo>
                  <a:lnTo>
                    <a:pt x="131" y="17"/>
                  </a:lnTo>
                  <a:lnTo>
                    <a:pt x="125" y="13"/>
                  </a:lnTo>
                  <a:lnTo>
                    <a:pt x="118" y="8"/>
                  </a:lnTo>
                  <a:lnTo>
                    <a:pt x="112" y="5"/>
                  </a:lnTo>
                  <a:lnTo>
                    <a:pt x="104" y="3"/>
                  </a:lnTo>
                  <a:lnTo>
                    <a:pt x="97" y="1"/>
                  </a:lnTo>
                  <a:lnTo>
                    <a:pt x="89" y="0"/>
                  </a:lnTo>
                  <a:lnTo>
                    <a:pt x="80" y="0"/>
                  </a:lnTo>
                  <a:lnTo>
                    <a:pt x="73" y="0"/>
                  </a:lnTo>
                  <a:lnTo>
                    <a:pt x="65" y="1"/>
                  </a:lnTo>
                  <a:lnTo>
                    <a:pt x="58" y="3"/>
                  </a:lnTo>
                  <a:lnTo>
                    <a:pt x="50" y="5"/>
                  </a:lnTo>
                  <a:lnTo>
                    <a:pt x="43" y="8"/>
                  </a:lnTo>
                  <a:lnTo>
                    <a:pt x="36" y="13"/>
                  </a:lnTo>
                  <a:lnTo>
                    <a:pt x="30" y="17"/>
                  </a:lnTo>
                  <a:lnTo>
                    <a:pt x="24" y="22"/>
                  </a:lnTo>
                  <a:lnTo>
                    <a:pt x="19" y="29"/>
                  </a:lnTo>
                  <a:lnTo>
                    <a:pt x="13" y="35"/>
                  </a:lnTo>
                  <a:lnTo>
                    <a:pt x="10" y="42"/>
                  </a:lnTo>
                  <a:lnTo>
                    <a:pt x="7" y="49"/>
                  </a:lnTo>
                  <a:lnTo>
                    <a:pt x="4" y="57"/>
                  </a:lnTo>
                  <a:lnTo>
                    <a:pt x="2" y="64"/>
                  </a:lnTo>
                  <a:lnTo>
                    <a:pt x="0" y="72"/>
                  </a:lnTo>
                  <a:lnTo>
                    <a:pt x="0" y="80"/>
                  </a:lnTo>
                  <a:lnTo>
                    <a:pt x="0" y="87"/>
                  </a:lnTo>
                  <a:lnTo>
                    <a:pt x="2" y="95"/>
                  </a:lnTo>
                  <a:lnTo>
                    <a:pt x="4" y="102"/>
                  </a:lnTo>
                  <a:lnTo>
                    <a:pt x="6" y="110"/>
                  </a:lnTo>
                  <a:lnTo>
                    <a:pt x="10" y="116"/>
                  </a:lnTo>
                  <a:lnTo>
                    <a:pt x="13" y="124"/>
                  </a:lnTo>
                  <a:lnTo>
                    <a:pt x="19" y="130"/>
                  </a:lnTo>
                  <a:lnTo>
                    <a:pt x="24" y="136"/>
                  </a:lnTo>
                  <a:lnTo>
                    <a:pt x="215" y="328"/>
                  </a:lnTo>
                  <a:lnTo>
                    <a:pt x="160" y="328"/>
                  </a:lnTo>
                  <a:lnTo>
                    <a:pt x="153" y="328"/>
                  </a:lnTo>
                  <a:lnTo>
                    <a:pt x="146" y="329"/>
                  </a:lnTo>
                  <a:lnTo>
                    <a:pt x="140" y="331"/>
                  </a:lnTo>
                  <a:lnTo>
                    <a:pt x="133" y="333"/>
                  </a:lnTo>
                  <a:lnTo>
                    <a:pt x="127" y="337"/>
                  </a:lnTo>
                  <a:lnTo>
                    <a:pt x="121" y="340"/>
                  </a:lnTo>
                  <a:lnTo>
                    <a:pt x="116" y="344"/>
                  </a:lnTo>
                  <a:lnTo>
                    <a:pt x="111" y="348"/>
                  </a:lnTo>
                  <a:lnTo>
                    <a:pt x="106" y="353"/>
                  </a:lnTo>
                  <a:lnTo>
                    <a:pt x="102" y="358"/>
                  </a:lnTo>
                  <a:lnTo>
                    <a:pt x="99" y="364"/>
                  </a:lnTo>
                  <a:lnTo>
                    <a:pt x="97" y="370"/>
                  </a:lnTo>
                  <a:lnTo>
                    <a:pt x="93" y="377"/>
                  </a:lnTo>
                  <a:lnTo>
                    <a:pt x="92" y="383"/>
                  </a:lnTo>
                  <a:lnTo>
                    <a:pt x="91" y="391"/>
                  </a:lnTo>
                  <a:lnTo>
                    <a:pt x="90" y="397"/>
                  </a:lnTo>
                  <a:lnTo>
                    <a:pt x="91" y="405"/>
                  </a:lnTo>
                  <a:lnTo>
                    <a:pt x="92" y="411"/>
                  </a:lnTo>
                  <a:lnTo>
                    <a:pt x="93" y="418"/>
                  </a:lnTo>
                  <a:lnTo>
                    <a:pt x="97" y="424"/>
                  </a:lnTo>
                  <a:lnTo>
                    <a:pt x="99" y="431"/>
                  </a:lnTo>
                  <a:lnTo>
                    <a:pt x="102" y="436"/>
                  </a:lnTo>
                  <a:lnTo>
                    <a:pt x="106" y="441"/>
                  </a:lnTo>
                  <a:lnTo>
                    <a:pt x="111" y="447"/>
                  </a:lnTo>
                  <a:lnTo>
                    <a:pt x="116" y="451"/>
                  </a:lnTo>
                  <a:lnTo>
                    <a:pt x="121" y="455"/>
                  </a:lnTo>
                  <a:lnTo>
                    <a:pt x="127" y="459"/>
                  </a:lnTo>
                  <a:lnTo>
                    <a:pt x="133" y="461"/>
                  </a:lnTo>
                  <a:lnTo>
                    <a:pt x="140" y="464"/>
                  </a:lnTo>
                  <a:lnTo>
                    <a:pt x="146" y="465"/>
                  </a:lnTo>
                  <a:lnTo>
                    <a:pt x="153" y="466"/>
                  </a:lnTo>
                  <a:lnTo>
                    <a:pt x="160" y="467"/>
                  </a:lnTo>
                  <a:lnTo>
                    <a:pt x="458" y="467"/>
                  </a:lnTo>
                  <a:lnTo>
                    <a:pt x="462" y="466"/>
                  </a:lnTo>
                  <a:lnTo>
                    <a:pt x="465" y="464"/>
                  </a:lnTo>
                  <a:lnTo>
                    <a:pt x="467" y="461"/>
                  </a:lnTo>
                  <a:lnTo>
                    <a:pt x="468" y="456"/>
                  </a:lnTo>
                  <a:lnTo>
                    <a:pt x="468" y="139"/>
                  </a:lnTo>
                  <a:lnTo>
                    <a:pt x="468" y="131"/>
                  </a:lnTo>
                  <a:lnTo>
                    <a:pt x="467" y="125"/>
                  </a:lnTo>
                  <a:lnTo>
                    <a:pt x="465" y="118"/>
                  </a:lnTo>
                  <a:lnTo>
                    <a:pt x="463" y="112"/>
                  </a:lnTo>
                  <a:lnTo>
                    <a:pt x="459" y="105"/>
                  </a:lnTo>
                  <a:lnTo>
                    <a:pt x="456" y="100"/>
                  </a:lnTo>
                  <a:lnTo>
                    <a:pt x="452" y="95"/>
                  </a:lnTo>
                  <a:lnTo>
                    <a:pt x="448" y="90"/>
                  </a:lnTo>
                  <a:lnTo>
                    <a:pt x="442" y="85"/>
                  </a:lnTo>
                  <a:lnTo>
                    <a:pt x="437" y="82"/>
                  </a:lnTo>
                  <a:lnTo>
                    <a:pt x="431" y="77"/>
                  </a:lnTo>
                  <a:lnTo>
                    <a:pt x="426" y="75"/>
                  </a:lnTo>
                  <a:lnTo>
                    <a:pt x="419" y="73"/>
                  </a:lnTo>
                  <a:lnTo>
                    <a:pt x="412" y="71"/>
                  </a:lnTo>
                  <a:lnTo>
                    <a:pt x="405" y="70"/>
                  </a:lnTo>
                  <a:lnTo>
                    <a:pt x="398" y="7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id="{4592D98A-47AB-4AB2-B99E-E6ADA65919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5693" y="3623938"/>
              <a:ext cx="283864" cy="232425"/>
            </a:xfrm>
            <a:custGeom>
              <a:avLst/>
              <a:gdLst>
                <a:gd name="T0" fmla="*/ 262 w 596"/>
                <a:gd name="T1" fmla="*/ 165 h 489"/>
                <a:gd name="T2" fmla="*/ 320 w 596"/>
                <a:gd name="T3" fmla="*/ 108 h 489"/>
                <a:gd name="T4" fmla="*/ 326 w 596"/>
                <a:gd name="T5" fmla="*/ 97 h 489"/>
                <a:gd name="T6" fmla="*/ 332 w 596"/>
                <a:gd name="T7" fmla="*/ 85 h 489"/>
                <a:gd name="T8" fmla="*/ 334 w 596"/>
                <a:gd name="T9" fmla="*/ 72 h 489"/>
                <a:gd name="T10" fmla="*/ 334 w 596"/>
                <a:gd name="T11" fmla="*/ 59 h 489"/>
                <a:gd name="T12" fmla="*/ 332 w 596"/>
                <a:gd name="T13" fmla="*/ 48 h 489"/>
                <a:gd name="T14" fmla="*/ 326 w 596"/>
                <a:gd name="T15" fmla="*/ 36 h 489"/>
                <a:gd name="T16" fmla="*/ 320 w 596"/>
                <a:gd name="T17" fmla="*/ 25 h 489"/>
                <a:gd name="T18" fmla="*/ 310 w 596"/>
                <a:gd name="T19" fmla="*/ 15 h 489"/>
                <a:gd name="T20" fmla="*/ 299 w 596"/>
                <a:gd name="T21" fmla="*/ 8 h 489"/>
                <a:gd name="T22" fmla="*/ 287 w 596"/>
                <a:gd name="T23" fmla="*/ 3 h 489"/>
                <a:gd name="T24" fmla="*/ 274 w 596"/>
                <a:gd name="T25" fmla="*/ 0 h 489"/>
                <a:gd name="T26" fmla="*/ 261 w 596"/>
                <a:gd name="T27" fmla="*/ 0 h 489"/>
                <a:gd name="T28" fmla="*/ 248 w 596"/>
                <a:gd name="T29" fmla="*/ 3 h 489"/>
                <a:gd name="T30" fmla="*/ 237 w 596"/>
                <a:gd name="T31" fmla="*/ 8 h 489"/>
                <a:gd name="T32" fmla="*/ 227 w 596"/>
                <a:gd name="T33" fmla="*/ 15 h 489"/>
                <a:gd name="T34" fmla="*/ 3 w 596"/>
                <a:gd name="T35" fmla="*/ 238 h 489"/>
                <a:gd name="T36" fmla="*/ 0 w 596"/>
                <a:gd name="T37" fmla="*/ 245 h 489"/>
                <a:gd name="T38" fmla="*/ 3 w 596"/>
                <a:gd name="T39" fmla="*/ 252 h 489"/>
                <a:gd name="T40" fmla="*/ 227 w 596"/>
                <a:gd name="T41" fmla="*/ 475 h 489"/>
                <a:gd name="T42" fmla="*/ 237 w 596"/>
                <a:gd name="T43" fmla="*/ 482 h 489"/>
                <a:gd name="T44" fmla="*/ 248 w 596"/>
                <a:gd name="T45" fmla="*/ 487 h 489"/>
                <a:gd name="T46" fmla="*/ 261 w 596"/>
                <a:gd name="T47" fmla="*/ 489 h 489"/>
                <a:gd name="T48" fmla="*/ 274 w 596"/>
                <a:gd name="T49" fmla="*/ 489 h 489"/>
                <a:gd name="T50" fmla="*/ 287 w 596"/>
                <a:gd name="T51" fmla="*/ 487 h 489"/>
                <a:gd name="T52" fmla="*/ 299 w 596"/>
                <a:gd name="T53" fmla="*/ 482 h 489"/>
                <a:gd name="T54" fmla="*/ 310 w 596"/>
                <a:gd name="T55" fmla="*/ 475 h 489"/>
                <a:gd name="T56" fmla="*/ 320 w 596"/>
                <a:gd name="T57" fmla="*/ 466 h 489"/>
                <a:gd name="T58" fmla="*/ 326 w 596"/>
                <a:gd name="T59" fmla="*/ 455 h 489"/>
                <a:gd name="T60" fmla="*/ 332 w 596"/>
                <a:gd name="T61" fmla="*/ 443 h 489"/>
                <a:gd name="T62" fmla="*/ 334 w 596"/>
                <a:gd name="T63" fmla="*/ 430 h 489"/>
                <a:gd name="T64" fmla="*/ 334 w 596"/>
                <a:gd name="T65" fmla="*/ 417 h 489"/>
                <a:gd name="T66" fmla="*/ 332 w 596"/>
                <a:gd name="T67" fmla="*/ 405 h 489"/>
                <a:gd name="T68" fmla="*/ 326 w 596"/>
                <a:gd name="T69" fmla="*/ 393 h 489"/>
                <a:gd name="T70" fmla="*/ 320 w 596"/>
                <a:gd name="T71" fmla="*/ 382 h 489"/>
                <a:gd name="T72" fmla="*/ 262 w 596"/>
                <a:gd name="T73" fmla="*/ 324 h 489"/>
                <a:gd name="T74" fmla="*/ 525 w 596"/>
                <a:gd name="T75" fmla="*/ 324 h 489"/>
                <a:gd name="T76" fmla="*/ 540 w 596"/>
                <a:gd name="T77" fmla="*/ 321 h 489"/>
                <a:gd name="T78" fmla="*/ 554 w 596"/>
                <a:gd name="T79" fmla="*/ 314 h 489"/>
                <a:gd name="T80" fmla="*/ 567 w 596"/>
                <a:gd name="T81" fmla="*/ 306 h 489"/>
                <a:gd name="T82" fmla="*/ 578 w 596"/>
                <a:gd name="T83" fmla="*/ 295 h 489"/>
                <a:gd name="T84" fmla="*/ 586 w 596"/>
                <a:gd name="T85" fmla="*/ 283 h 489"/>
                <a:gd name="T86" fmla="*/ 592 w 596"/>
                <a:gd name="T87" fmla="*/ 269 h 489"/>
                <a:gd name="T88" fmla="*/ 595 w 596"/>
                <a:gd name="T89" fmla="*/ 253 h 489"/>
                <a:gd name="T90" fmla="*/ 595 w 596"/>
                <a:gd name="T91" fmla="*/ 237 h 489"/>
                <a:gd name="T92" fmla="*/ 592 w 596"/>
                <a:gd name="T93" fmla="*/ 221 h 489"/>
                <a:gd name="T94" fmla="*/ 586 w 596"/>
                <a:gd name="T95" fmla="*/ 207 h 489"/>
                <a:gd name="T96" fmla="*/ 578 w 596"/>
                <a:gd name="T97" fmla="*/ 194 h 489"/>
                <a:gd name="T98" fmla="*/ 567 w 596"/>
                <a:gd name="T99" fmla="*/ 184 h 489"/>
                <a:gd name="T100" fmla="*/ 554 w 596"/>
                <a:gd name="T101" fmla="*/ 175 h 489"/>
                <a:gd name="T102" fmla="*/ 540 w 596"/>
                <a:gd name="T103" fmla="*/ 169 h 489"/>
                <a:gd name="T104" fmla="*/ 525 w 596"/>
                <a:gd name="T105" fmla="*/ 165 h 4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96" h="489">
                  <a:moveTo>
                    <a:pt x="516" y="165"/>
                  </a:moveTo>
                  <a:lnTo>
                    <a:pt x="262" y="165"/>
                  </a:lnTo>
                  <a:lnTo>
                    <a:pt x="315" y="112"/>
                  </a:lnTo>
                  <a:lnTo>
                    <a:pt x="320" y="108"/>
                  </a:lnTo>
                  <a:lnTo>
                    <a:pt x="323" y="103"/>
                  </a:lnTo>
                  <a:lnTo>
                    <a:pt x="326" y="97"/>
                  </a:lnTo>
                  <a:lnTo>
                    <a:pt x="329" y="91"/>
                  </a:lnTo>
                  <a:lnTo>
                    <a:pt x="332" y="85"/>
                  </a:lnTo>
                  <a:lnTo>
                    <a:pt x="333" y="79"/>
                  </a:lnTo>
                  <a:lnTo>
                    <a:pt x="334" y="72"/>
                  </a:lnTo>
                  <a:lnTo>
                    <a:pt x="334" y="66"/>
                  </a:lnTo>
                  <a:lnTo>
                    <a:pt x="334" y="59"/>
                  </a:lnTo>
                  <a:lnTo>
                    <a:pt x="333" y="53"/>
                  </a:lnTo>
                  <a:lnTo>
                    <a:pt x="332" y="48"/>
                  </a:lnTo>
                  <a:lnTo>
                    <a:pt x="329" y="41"/>
                  </a:lnTo>
                  <a:lnTo>
                    <a:pt x="326" y="36"/>
                  </a:lnTo>
                  <a:lnTo>
                    <a:pt x="323" y="29"/>
                  </a:lnTo>
                  <a:lnTo>
                    <a:pt x="320" y="25"/>
                  </a:lnTo>
                  <a:lnTo>
                    <a:pt x="315" y="19"/>
                  </a:lnTo>
                  <a:lnTo>
                    <a:pt x="310" y="15"/>
                  </a:lnTo>
                  <a:lnTo>
                    <a:pt x="305" y="11"/>
                  </a:lnTo>
                  <a:lnTo>
                    <a:pt x="299" y="8"/>
                  </a:lnTo>
                  <a:lnTo>
                    <a:pt x="294" y="5"/>
                  </a:lnTo>
                  <a:lnTo>
                    <a:pt x="287" y="3"/>
                  </a:lnTo>
                  <a:lnTo>
                    <a:pt x="281" y="1"/>
                  </a:lnTo>
                  <a:lnTo>
                    <a:pt x="274" y="0"/>
                  </a:lnTo>
                  <a:lnTo>
                    <a:pt x="268" y="0"/>
                  </a:lnTo>
                  <a:lnTo>
                    <a:pt x="261" y="0"/>
                  </a:lnTo>
                  <a:lnTo>
                    <a:pt x="255" y="1"/>
                  </a:lnTo>
                  <a:lnTo>
                    <a:pt x="248" y="3"/>
                  </a:lnTo>
                  <a:lnTo>
                    <a:pt x="243" y="5"/>
                  </a:lnTo>
                  <a:lnTo>
                    <a:pt x="237" y="8"/>
                  </a:lnTo>
                  <a:lnTo>
                    <a:pt x="231" y="11"/>
                  </a:lnTo>
                  <a:lnTo>
                    <a:pt x="227" y="15"/>
                  </a:lnTo>
                  <a:lnTo>
                    <a:pt x="221" y="19"/>
                  </a:lnTo>
                  <a:lnTo>
                    <a:pt x="3" y="238"/>
                  </a:lnTo>
                  <a:lnTo>
                    <a:pt x="1" y="241"/>
                  </a:lnTo>
                  <a:lnTo>
                    <a:pt x="0" y="245"/>
                  </a:lnTo>
                  <a:lnTo>
                    <a:pt x="1" y="248"/>
                  </a:lnTo>
                  <a:lnTo>
                    <a:pt x="3" y="252"/>
                  </a:lnTo>
                  <a:lnTo>
                    <a:pt x="221" y="470"/>
                  </a:lnTo>
                  <a:lnTo>
                    <a:pt x="227" y="475"/>
                  </a:lnTo>
                  <a:lnTo>
                    <a:pt x="231" y="478"/>
                  </a:lnTo>
                  <a:lnTo>
                    <a:pt x="237" y="482"/>
                  </a:lnTo>
                  <a:lnTo>
                    <a:pt x="243" y="485"/>
                  </a:lnTo>
                  <a:lnTo>
                    <a:pt x="248" y="487"/>
                  </a:lnTo>
                  <a:lnTo>
                    <a:pt x="255" y="488"/>
                  </a:lnTo>
                  <a:lnTo>
                    <a:pt x="261" y="489"/>
                  </a:lnTo>
                  <a:lnTo>
                    <a:pt x="268" y="489"/>
                  </a:lnTo>
                  <a:lnTo>
                    <a:pt x="274" y="489"/>
                  </a:lnTo>
                  <a:lnTo>
                    <a:pt x="281" y="488"/>
                  </a:lnTo>
                  <a:lnTo>
                    <a:pt x="287" y="487"/>
                  </a:lnTo>
                  <a:lnTo>
                    <a:pt x="294" y="485"/>
                  </a:lnTo>
                  <a:lnTo>
                    <a:pt x="299" y="482"/>
                  </a:lnTo>
                  <a:lnTo>
                    <a:pt x="305" y="478"/>
                  </a:lnTo>
                  <a:lnTo>
                    <a:pt x="310" y="475"/>
                  </a:lnTo>
                  <a:lnTo>
                    <a:pt x="315" y="470"/>
                  </a:lnTo>
                  <a:lnTo>
                    <a:pt x="320" y="466"/>
                  </a:lnTo>
                  <a:lnTo>
                    <a:pt x="323" y="460"/>
                  </a:lnTo>
                  <a:lnTo>
                    <a:pt x="326" y="455"/>
                  </a:lnTo>
                  <a:lnTo>
                    <a:pt x="329" y="448"/>
                  </a:lnTo>
                  <a:lnTo>
                    <a:pt x="332" y="443"/>
                  </a:lnTo>
                  <a:lnTo>
                    <a:pt x="333" y="436"/>
                  </a:lnTo>
                  <a:lnTo>
                    <a:pt x="334" y="430"/>
                  </a:lnTo>
                  <a:lnTo>
                    <a:pt x="334" y="423"/>
                  </a:lnTo>
                  <a:lnTo>
                    <a:pt x="334" y="417"/>
                  </a:lnTo>
                  <a:lnTo>
                    <a:pt x="333" y="410"/>
                  </a:lnTo>
                  <a:lnTo>
                    <a:pt x="332" y="405"/>
                  </a:lnTo>
                  <a:lnTo>
                    <a:pt x="329" y="399"/>
                  </a:lnTo>
                  <a:lnTo>
                    <a:pt x="326" y="393"/>
                  </a:lnTo>
                  <a:lnTo>
                    <a:pt x="323" y="387"/>
                  </a:lnTo>
                  <a:lnTo>
                    <a:pt x="320" y="382"/>
                  </a:lnTo>
                  <a:lnTo>
                    <a:pt x="315" y="377"/>
                  </a:lnTo>
                  <a:lnTo>
                    <a:pt x="262" y="324"/>
                  </a:lnTo>
                  <a:lnTo>
                    <a:pt x="516" y="324"/>
                  </a:lnTo>
                  <a:lnTo>
                    <a:pt x="525" y="324"/>
                  </a:lnTo>
                  <a:lnTo>
                    <a:pt x="532" y="323"/>
                  </a:lnTo>
                  <a:lnTo>
                    <a:pt x="540" y="321"/>
                  </a:lnTo>
                  <a:lnTo>
                    <a:pt x="548" y="318"/>
                  </a:lnTo>
                  <a:lnTo>
                    <a:pt x="554" y="314"/>
                  </a:lnTo>
                  <a:lnTo>
                    <a:pt x="560" y="311"/>
                  </a:lnTo>
                  <a:lnTo>
                    <a:pt x="567" y="306"/>
                  </a:lnTo>
                  <a:lnTo>
                    <a:pt x="572" y="301"/>
                  </a:lnTo>
                  <a:lnTo>
                    <a:pt x="578" y="295"/>
                  </a:lnTo>
                  <a:lnTo>
                    <a:pt x="582" y="289"/>
                  </a:lnTo>
                  <a:lnTo>
                    <a:pt x="586" y="283"/>
                  </a:lnTo>
                  <a:lnTo>
                    <a:pt x="590" y="275"/>
                  </a:lnTo>
                  <a:lnTo>
                    <a:pt x="592" y="269"/>
                  </a:lnTo>
                  <a:lnTo>
                    <a:pt x="594" y="260"/>
                  </a:lnTo>
                  <a:lnTo>
                    <a:pt x="595" y="253"/>
                  </a:lnTo>
                  <a:lnTo>
                    <a:pt x="596" y="245"/>
                  </a:lnTo>
                  <a:lnTo>
                    <a:pt x="595" y="237"/>
                  </a:lnTo>
                  <a:lnTo>
                    <a:pt x="594" y="229"/>
                  </a:lnTo>
                  <a:lnTo>
                    <a:pt x="592" y="221"/>
                  </a:lnTo>
                  <a:lnTo>
                    <a:pt x="590" y="214"/>
                  </a:lnTo>
                  <a:lnTo>
                    <a:pt x="586" y="207"/>
                  </a:lnTo>
                  <a:lnTo>
                    <a:pt x="582" y="201"/>
                  </a:lnTo>
                  <a:lnTo>
                    <a:pt x="578" y="194"/>
                  </a:lnTo>
                  <a:lnTo>
                    <a:pt x="572" y="189"/>
                  </a:lnTo>
                  <a:lnTo>
                    <a:pt x="567" y="184"/>
                  </a:lnTo>
                  <a:lnTo>
                    <a:pt x="560" y="179"/>
                  </a:lnTo>
                  <a:lnTo>
                    <a:pt x="554" y="175"/>
                  </a:lnTo>
                  <a:lnTo>
                    <a:pt x="548" y="172"/>
                  </a:lnTo>
                  <a:lnTo>
                    <a:pt x="540" y="169"/>
                  </a:lnTo>
                  <a:lnTo>
                    <a:pt x="532" y="167"/>
                  </a:lnTo>
                  <a:lnTo>
                    <a:pt x="525" y="165"/>
                  </a:lnTo>
                  <a:lnTo>
                    <a:pt x="516" y="165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20">
              <a:extLst>
                <a:ext uri="{FF2B5EF4-FFF2-40B4-BE49-F238E27FC236}">
                  <a16:creationId xmlns:a16="http://schemas.microsoft.com/office/drawing/2014/main" id="{5F71AC07-1557-41D7-8AEC-10F965A0C0A3}"/>
                </a:ext>
              </a:extLst>
            </p:cNvPr>
            <p:cNvSpPr>
              <a:spLocks/>
            </p:cNvSpPr>
            <p:nvPr/>
          </p:nvSpPr>
          <p:spPr bwMode="auto">
            <a:xfrm>
              <a:off x="8197206" y="3627748"/>
              <a:ext cx="274337" cy="224804"/>
            </a:xfrm>
            <a:custGeom>
              <a:avLst/>
              <a:gdLst>
                <a:gd name="T0" fmla="*/ 0 w 576"/>
                <a:gd name="T1" fmla="*/ 242 h 470"/>
                <a:gd name="T2" fmla="*/ 3 w 576"/>
                <a:gd name="T3" fmla="*/ 256 h 470"/>
                <a:gd name="T4" fmla="*/ 8 w 576"/>
                <a:gd name="T5" fmla="*/ 268 h 470"/>
                <a:gd name="T6" fmla="*/ 15 w 576"/>
                <a:gd name="T7" fmla="*/ 279 h 470"/>
                <a:gd name="T8" fmla="*/ 25 w 576"/>
                <a:gd name="T9" fmla="*/ 288 h 470"/>
                <a:gd name="T10" fmla="*/ 36 w 576"/>
                <a:gd name="T11" fmla="*/ 296 h 470"/>
                <a:gd name="T12" fmla="*/ 49 w 576"/>
                <a:gd name="T13" fmla="*/ 301 h 470"/>
                <a:gd name="T14" fmla="*/ 62 w 576"/>
                <a:gd name="T15" fmla="*/ 304 h 470"/>
                <a:gd name="T16" fmla="*/ 347 w 576"/>
                <a:gd name="T17" fmla="*/ 304 h 470"/>
                <a:gd name="T18" fmla="*/ 274 w 576"/>
                <a:gd name="T19" fmla="*/ 378 h 470"/>
                <a:gd name="T20" fmla="*/ 268 w 576"/>
                <a:gd name="T21" fmla="*/ 387 h 470"/>
                <a:gd name="T22" fmla="*/ 262 w 576"/>
                <a:gd name="T23" fmla="*/ 403 h 470"/>
                <a:gd name="T24" fmla="*/ 262 w 576"/>
                <a:gd name="T25" fmla="*/ 424 h 470"/>
                <a:gd name="T26" fmla="*/ 268 w 576"/>
                <a:gd name="T27" fmla="*/ 439 h 470"/>
                <a:gd name="T28" fmla="*/ 274 w 576"/>
                <a:gd name="T29" fmla="*/ 449 h 470"/>
                <a:gd name="T30" fmla="*/ 282 w 576"/>
                <a:gd name="T31" fmla="*/ 458 h 470"/>
                <a:gd name="T32" fmla="*/ 292 w 576"/>
                <a:gd name="T33" fmla="*/ 463 h 470"/>
                <a:gd name="T34" fmla="*/ 307 w 576"/>
                <a:gd name="T35" fmla="*/ 468 h 470"/>
                <a:gd name="T36" fmla="*/ 328 w 576"/>
                <a:gd name="T37" fmla="*/ 468 h 470"/>
                <a:gd name="T38" fmla="*/ 343 w 576"/>
                <a:gd name="T39" fmla="*/ 463 h 470"/>
                <a:gd name="T40" fmla="*/ 353 w 576"/>
                <a:gd name="T41" fmla="*/ 458 h 470"/>
                <a:gd name="T42" fmla="*/ 576 w 576"/>
                <a:gd name="T43" fmla="*/ 235 h 470"/>
                <a:gd name="T44" fmla="*/ 353 w 576"/>
                <a:gd name="T45" fmla="*/ 13 h 470"/>
                <a:gd name="T46" fmla="*/ 343 w 576"/>
                <a:gd name="T47" fmla="*/ 6 h 470"/>
                <a:gd name="T48" fmla="*/ 328 w 576"/>
                <a:gd name="T49" fmla="*/ 1 h 470"/>
                <a:gd name="T50" fmla="*/ 307 w 576"/>
                <a:gd name="T51" fmla="*/ 1 h 470"/>
                <a:gd name="T52" fmla="*/ 292 w 576"/>
                <a:gd name="T53" fmla="*/ 6 h 470"/>
                <a:gd name="T54" fmla="*/ 282 w 576"/>
                <a:gd name="T55" fmla="*/ 13 h 470"/>
                <a:gd name="T56" fmla="*/ 274 w 576"/>
                <a:gd name="T57" fmla="*/ 20 h 470"/>
                <a:gd name="T58" fmla="*/ 268 w 576"/>
                <a:gd name="T59" fmla="*/ 30 h 470"/>
                <a:gd name="T60" fmla="*/ 262 w 576"/>
                <a:gd name="T61" fmla="*/ 45 h 470"/>
                <a:gd name="T62" fmla="*/ 262 w 576"/>
                <a:gd name="T63" fmla="*/ 67 h 470"/>
                <a:gd name="T64" fmla="*/ 268 w 576"/>
                <a:gd name="T65" fmla="*/ 82 h 470"/>
                <a:gd name="T66" fmla="*/ 274 w 576"/>
                <a:gd name="T67" fmla="*/ 92 h 470"/>
                <a:gd name="T68" fmla="*/ 347 w 576"/>
                <a:gd name="T69" fmla="*/ 165 h 470"/>
                <a:gd name="T70" fmla="*/ 62 w 576"/>
                <a:gd name="T71" fmla="*/ 166 h 470"/>
                <a:gd name="T72" fmla="*/ 49 w 576"/>
                <a:gd name="T73" fmla="*/ 168 h 470"/>
                <a:gd name="T74" fmla="*/ 36 w 576"/>
                <a:gd name="T75" fmla="*/ 174 h 470"/>
                <a:gd name="T76" fmla="*/ 25 w 576"/>
                <a:gd name="T77" fmla="*/ 181 h 470"/>
                <a:gd name="T78" fmla="*/ 15 w 576"/>
                <a:gd name="T79" fmla="*/ 191 h 470"/>
                <a:gd name="T80" fmla="*/ 8 w 576"/>
                <a:gd name="T81" fmla="*/ 202 h 470"/>
                <a:gd name="T82" fmla="*/ 3 w 576"/>
                <a:gd name="T83" fmla="*/ 215 h 470"/>
                <a:gd name="T84" fmla="*/ 0 w 576"/>
                <a:gd name="T85" fmla="*/ 228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76" h="470">
                  <a:moveTo>
                    <a:pt x="0" y="235"/>
                  </a:moveTo>
                  <a:lnTo>
                    <a:pt x="0" y="242"/>
                  </a:lnTo>
                  <a:lnTo>
                    <a:pt x="1" y="249"/>
                  </a:lnTo>
                  <a:lnTo>
                    <a:pt x="3" y="256"/>
                  </a:lnTo>
                  <a:lnTo>
                    <a:pt x="5" y="262"/>
                  </a:lnTo>
                  <a:lnTo>
                    <a:pt x="8" y="268"/>
                  </a:lnTo>
                  <a:lnTo>
                    <a:pt x="12" y="274"/>
                  </a:lnTo>
                  <a:lnTo>
                    <a:pt x="15" y="279"/>
                  </a:lnTo>
                  <a:lnTo>
                    <a:pt x="19" y="284"/>
                  </a:lnTo>
                  <a:lnTo>
                    <a:pt x="25" y="288"/>
                  </a:lnTo>
                  <a:lnTo>
                    <a:pt x="30" y="292"/>
                  </a:lnTo>
                  <a:lnTo>
                    <a:pt x="36" y="296"/>
                  </a:lnTo>
                  <a:lnTo>
                    <a:pt x="42" y="299"/>
                  </a:lnTo>
                  <a:lnTo>
                    <a:pt x="49" y="301"/>
                  </a:lnTo>
                  <a:lnTo>
                    <a:pt x="55" y="303"/>
                  </a:lnTo>
                  <a:lnTo>
                    <a:pt x="62" y="304"/>
                  </a:lnTo>
                  <a:lnTo>
                    <a:pt x="69" y="304"/>
                  </a:lnTo>
                  <a:lnTo>
                    <a:pt x="347" y="304"/>
                  </a:lnTo>
                  <a:lnTo>
                    <a:pt x="277" y="373"/>
                  </a:lnTo>
                  <a:lnTo>
                    <a:pt x="274" y="378"/>
                  </a:lnTo>
                  <a:lnTo>
                    <a:pt x="270" y="383"/>
                  </a:lnTo>
                  <a:lnTo>
                    <a:pt x="268" y="387"/>
                  </a:lnTo>
                  <a:lnTo>
                    <a:pt x="266" y="393"/>
                  </a:lnTo>
                  <a:lnTo>
                    <a:pt x="262" y="403"/>
                  </a:lnTo>
                  <a:lnTo>
                    <a:pt x="261" y="413"/>
                  </a:lnTo>
                  <a:lnTo>
                    <a:pt x="262" y="424"/>
                  </a:lnTo>
                  <a:lnTo>
                    <a:pt x="266" y="435"/>
                  </a:lnTo>
                  <a:lnTo>
                    <a:pt x="268" y="439"/>
                  </a:lnTo>
                  <a:lnTo>
                    <a:pt x="270" y="445"/>
                  </a:lnTo>
                  <a:lnTo>
                    <a:pt x="274" y="449"/>
                  </a:lnTo>
                  <a:lnTo>
                    <a:pt x="277" y="453"/>
                  </a:lnTo>
                  <a:lnTo>
                    <a:pt x="282" y="458"/>
                  </a:lnTo>
                  <a:lnTo>
                    <a:pt x="286" y="461"/>
                  </a:lnTo>
                  <a:lnTo>
                    <a:pt x="292" y="463"/>
                  </a:lnTo>
                  <a:lnTo>
                    <a:pt x="296" y="465"/>
                  </a:lnTo>
                  <a:lnTo>
                    <a:pt x="307" y="468"/>
                  </a:lnTo>
                  <a:lnTo>
                    <a:pt x="317" y="470"/>
                  </a:lnTo>
                  <a:lnTo>
                    <a:pt x="328" y="468"/>
                  </a:lnTo>
                  <a:lnTo>
                    <a:pt x="338" y="465"/>
                  </a:lnTo>
                  <a:lnTo>
                    <a:pt x="343" y="463"/>
                  </a:lnTo>
                  <a:lnTo>
                    <a:pt x="348" y="461"/>
                  </a:lnTo>
                  <a:lnTo>
                    <a:pt x="353" y="458"/>
                  </a:lnTo>
                  <a:lnTo>
                    <a:pt x="357" y="453"/>
                  </a:lnTo>
                  <a:lnTo>
                    <a:pt x="576" y="235"/>
                  </a:lnTo>
                  <a:lnTo>
                    <a:pt x="357" y="16"/>
                  </a:lnTo>
                  <a:lnTo>
                    <a:pt x="353" y="13"/>
                  </a:lnTo>
                  <a:lnTo>
                    <a:pt x="348" y="9"/>
                  </a:lnTo>
                  <a:lnTo>
                    <a:pt x="343" y="6"/>
                  </a:lnTo>
                  <a:lnTo>
                    <a:pt x="338" y="4"/>
                  </a:lnTo>
                  <a:lnTo>
                    <a:pt x="328" y="1"/>
                  </a:lnTo>
                  <a:lnTo>
                    <a:pt x="317" y="0"/>
                  </a:lnTo>
                  <a:lnTo>
                    <a:pt x="307" y="1"/>
                  </a:lnTo>
                  <a:lnTo>
                    <a:pt x="296" y="4"/>
                  </a:lnTo>
                  <a:lnTo>
                    <a:pt x="292" y="6"/>
                  </a:lnTo>
                  <a:lnTo>
                    <a:pt x="286" y="9"/>
                  </a:lnTo>
                  <a:lnTo>
                    <a:pt x="282" y="13"/>
                  </a:lnTo>
                  <a:lnTo>
                    <a:pt x="277" y="16"/>
                  </a:lnTo>
                  <a:lnTo>
                    <a:pt x="274" y="20"/>
                  </a:lnTo>
                  <a:lnTo>
                    <a:pt x="270" y="26"/>
                  </a:lnTo>
                  <a:lnTo>
                    <a:pt x="268" y="30"/>
                  </a:lnTo>
                  <a:lnTo>
                    <a:pt x="266" y="35"/>
                  </a:lnTo>
                  <a:lnTo>
                    <a:pt x="262" y="45"/>
                  </a:lnTo>
                  <a:lnTo>
                    <a:pt x="261" y="56"/>
                  </a:lnTo>
                  <a:lnTo>
                    <a:pt x="262" y="67"/>
                  </a:lnTo>
                  <a:lnTo>
                    <a:pt x="266" y="78"/>
                  </a:lnTo>
                  <a:lnTo>
                    <a:pt x="268" y="82"/>
                  </a:lnTo>
                  <a:lnTo>
                    <a:pt x="270" y="87"/>
                  </a:lnTo>
                  <a:lnTo>
                    <a:pt x="274" y="92"/>
                  </a:lnTo>
                  <a:lnTo>
                    <a:pt x="277" y="96"/>
                  </a:lnTo>
                  <a:lnTo>
                    <a:pt x="347" y="165"/>
                  </a:lnTo>
                  <a:lnTo>
                    <a:pt x="69" y="165"/>
                  </a:lnTo>
                  <a:lnTo>
                    <a:pt x="62" y="166"/>
                  </a:lnTo>
                  <a:lnTo>
                    <a:pt x="55" y="167"/>
                  </a:lnTo>
                  <a:lnTo>
                    <a:pt x="49" y="168"/>
                  </a:lnTo>
                  <a:lnTo>
                    <a:pt x="42" y="170"/>
                  </a:lnTo>
                  <a:lnTo>
                    <a:pt x="36" y="174"/>
                  </a:lnTo>
                  <a:lnTo>
                    <a:pt x="30" y="177"/>
                  </a:lnTo>
                  <a:lnTo>
                    <a:pt x="25" y="181"/>
                  </a:lnTo>
                  <a:lnTo>
                    <a:pt x="19" y="186"/>
                  </a:lnTo>
                  <a:lnTo>
                    <a:pt x="15" y="191"/>
                  </a:lnTo>
                  <a:lnTo>
                    <a:pt x="12" y="196"/>
                  </a:lnTo>
                  <a:lnTo>
                    <a:pt x="8" y="202"/>
                  </a:lnTo>
                  <a:lnTo>
                    <a:pt x="5" y="208"/>
                  </a:lnTo>
                  <a:lnTo>
                    <a:pt x="3" y="215"/>
                  </a:lnTo>
                  <a:lnTo>
                    <a:pt x="1" y="221"/>
                  </a:lnTo>
                  <a:lnTo>
                    <a:pt x="0" y="228"/>
                  </a:lnTo>
                  <a:lnTo>
                    <a:pt x="0" y="235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C285424B-F600-4F7C-83A7-CA9E4AB3503D}"/>
              </a:ext>
            </a:extLst>
          </p:cNvPr>
          <p:cNvSpPr/>
          <p:nvPr/>
        </p:nvSpPr>
        <p:spPr>
          <a:xfrm>
            <a:off x="882650" y="3258336"/>
            <a:ext cx="2628900" cy="963628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22CCFC4C-985C-4485-BBD3-2D818DD90B21}"/>
              </a:ext>
            </a:extLst>
          </p:cNvPr>
          <p:cNvCxnSpPr/>
          <p:nvPr/>
        </p:nvCxnSpPr>
        <p:spPr>
          <a:xfrm>
            <a:off x="1676401" y="3409950"/>
            <a:ext cx="0" cy="6604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169FF963-B9B6-4AF4-A87C-BDD2A740AAB9}"/>
              </a:ext>
            </a:extLst>
          </p:cNvPr>
          <p:cNvSpPr/>
          <p:nvPr/>
        </p:nvSpPr>
        <p:spPr>
          <a:xfrm>
            <a:off x="8680450" y="3258336"/>
            <a:ext cx="2628900" cy="963628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079C9C8C-6436-432A-AE0B-E2863E182C26}"/>
              </a:ext>
            </a:extLst>
          </p:cNvPr>
          <p:cNvCxnSpPr/>
          <p:nvPr/>
        </p:nvCxnSpPr>
        <p:spPr>
          <a:xfrm>
            <a:off x="10515599" y="3409950"/>
            <a:ext cx="0" cy="6604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C094B0E2-52F1-47A9-B0CD-64F57F5DE476}"/>
              </a:ext>
            </a:extLst>
          </p:cNvPr>
          <p:cNvSpPr txBox="1"/>
          <p:nvPr/>
        </p:nvSpPr>
        <p:spPr>
          <a:xfrm>
            <a:off x="190500" y="241300"/>
            <a:ext cx="11811000" cy="8002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3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rPr>
              <a:t>Project Management</a:t>
            </a:r>
          </a:p>
          <a:p>
            <a:pPr algn="ctr"/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rPr>
              <a:t>Template Pack</a:t>
            </a:r>
            <a:endParaRPr lang="id-ID" sz="20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ABA8D8A-3C74-47D4-9A47-6C113AB1DC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65069E-FEA1-427A-A048-CF60E8D1D63F}" type="datetime1">
              <a:rPr lang="en-US" sz="1000" smtClean="0"/>
              <a:t>5/8/2019</a:t>
            </a:fld>
            <a:endParaRPr lang="en-US" sz="10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28A193C-DE62-45B9-BC6C-339547738B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EFC3F0-C584-483B-B1FE-52BE924CB19D}" type="slidenum">
              <a:rPr lang="en-US" sz="1000" smtClean="0"/>
              <a:t>2</a:t>
            </a:fld>
            <a:endParaRPr lang="en-US" sz="1000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8DA159D7-A66D-489D-9764-1C18C7F05B62}"/>
              </a:ext>
            </a:extLst>
          </p:cNvPr>
          <p:cNvSpPr/>
          <p:nvPr/>
        </p:nvSpPr>
        <p:spPr>
          <a:xfrm>
            <a:off x="4203700" y="3149600"/>
            <a:ext cx="3784600" cy="11811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bg1"/>
                </a:solidFill>
              </a:rPr>
              <a:t>OVERVIEW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A80E6DB6-ADF9-4951-AC6B-6741DDC98A63}"/>
              </a:ext>
            </a:extLst>
          </p:cNvPr>
          <p:cNvSpPr/>
          <p:nvPr/>
        </p:nvSpPr>
        <p:spPr>
          <a:xfrm>
            <a:off x="2438399" y="4902927"/>
            <a:ext cx="2628900" cy="963628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00D603FB-14AC-440A-9864-3F2582E07EA0}"/>
              </a:ext>
            </a:extLst>
          </p:cNvPr>
          <p:cNvSpPr/>
          <p:nvPr/>
        </p:nvSpPr>
        <p:spPr>
          <a:xfrm>
            <a:off x="7124701" y="4902927"/>
            <a:ext cx="2628900" cy="963628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2CDA55BC-B173-4E94-AD74-609D45D3F9C8}"/>
              </a:ext>
            </a:extLst>
          </p:cNvPr>
          <p:cNvSpPr/>
          <p:nvPr/>
        </p:nvSpPr>
        <p:spPr>
          <a:xfrm>
            <a:off x="2438399" y="1613745"/>
            <a:ext cx="2628900" cy="963628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09A6AEAF-8CB5-47A7-A562-63B492DBCE01}"/>
              </a:ext>
            </a:extLst>
          </p:cNvPr>
          <p:cNvCxnSpPr/>
          <p:nvPr/>
        </p:nvCxnSpPr>
        <p:spPr>
          <a:xfrm>
            <a:off x="3232150" y="1765359"/>
            <a:ext cx="0" cy="6604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D0C2D2AB-6D81-44C3-9CCE-2380BAB78E07}"/>
              </a:ext>
            </a:extLst>
          </p:cNvPr>
          <p:cNvSpPr/>
          <p:nvPr/>
        </p:nvSpPr>
        <p:spPr>
          <a:xfrm>
            <a:off x="7124701" y="1613745"/>
            <a:ext cx="2628900" cy="963628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258ED38D-932A-49DA-97C3-B331CA93FFD8}"/>
              </a:ext>
            </a:extLst>
          </p:cNvPr>
          <p:cNvCxnSpPr/>
          <p:nvPr/>
        </p:nvCxnSpPr>
        <p:spPr>
          <a:xfrm>
            <a:off x="8959850" y="1765359"/>
            <a:ext cx="0" cy="6604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9CDDCEDA-B8B0-4CFE-8C7C-80FC57369CEB}"/>
              </a:ext>
            </a:extLst>
          </p:cNvPr>
          <p:cNvCxnSpPr/>
          <p:nvPr/>
        </p:nvCxnSpPr>
        <p:spPr>
          <a:xfrm>
            <a:off x="3232150" y="5054541"/>
            <a:ext cx="0" cy="6604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D1C33984-2F3E-4980-ADA8-0EF5AA4A1B23}"/>
              </a:ext>
            </a:extLst>
          </p:cNvPr>
          <p:cNvCxnSpPr/>
          <p:nvPr/>
        </p:nvCxnSpPr>
        <p:spPr>
          <a:xfrm>
            <a:off x="8959850" y="5054541"/>
            <a:ext cx="0" cy="6604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tangle 33">
            <a:extLst>
              <a:ext uri="{FF2B5EF4-FFF2-40B4-BE49-F238E27FC236}">
                <a16:creationId xmlns:a16="http://schemas.microsoft.com/office/drawing/2014/main" id="{E290E6A6-1FF2-469B-A610-9230299274CF}"/>
              </a:ext>
            </a:extLst>
          </p:cNvPr>
          <p:cNvSpPr/>
          <p:nvPr/>
        </p:nvSpPr>
        <p:spPr>
          <a:xfrm>
            <a:off x="3371079" y="1941670"/>
            <a:ext cx="1557292" cy="30777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Segoe UI" panose="020B0502040204020203" pitchFamily="34" charset="0"/>
              </a:rPr>
              <a:t>INITIATE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BC08868C-7915-4F46-A320-119B371DE056}"/>
              </a:ext>
            </a:extLst>
          </p:cNvPr>
          <p:cNvSpPr/>
          <p:nvPr/>
        </p:nvSpPr>
        <p:spPr>
          <a:xfrm>
            <a:off x="7263630" y="1941670"/>
            <a:ext cx="1557292" cy="30777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Segoe UI" panose="020B0502040204020203" pitchFamily="34" charset="0"/>
              </a:rPr>
              <a:t>ANALYSE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0EFE75C8-3F4C-48F0-A974-346EAA088548}"/>
              </a:ext>
            </a:extLst>
          </p:cNvPr>
          <p:cNvSpPr/>
          <p:nvPr/>
        </p:nvSpPr>
        <p:spPr>
          <a:xfrm>
            <a:off x="8819379" y="3586262"/>
            <a:ext cx="1557292" cy="30777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Segoe UI" panose="020B0502040204020203" pitchFamily="34" charset="0"/>
              </a:rPr>
              <a:t>PLAN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2BF6F4A9-0E04-497D-8EE4-AEC1FD562CFE}"/>
              </a:ext>
            </a:extLst>
          </p:cNvPr>
          <p:cNvSpPr/>
          <p:nvPr/>
        </p:nvSpPr>
        <p:spPr>
          <a:xfrm>
            <a:off x="1821678" y="3586262"/>
            <a:ext cx="1557292" cy="30777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Segoe UI" panose="020B0502040204020203" pitchFamily="34" charset="0"/>
              </a:rPr>
              <a:t>SUCCESS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0FDAFE85-A9C2-4C09-A6AF-7687E378FC13}"/>
              </a:ext>
            </a:extLst>
          </p:cNvPr>
          <p:cNvSpPr/>
          <p:nvPr/>
        </p:nvSpPr>
        <p:spPr>
          <a:xfrm>
            <a:off x="3371079" y="5230853"/>
            <a:ext cx="1557292" cy="30777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Segoe UI" panose="020B0502040204020203" pitchFamily="34" charset="0"/>
              </a:rPr>
              <a:t>CONTROL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EF61DB83-F2C1-4EE9-B0B8-19BB5C2F69C0}"/>
              </a:ext>
            </a:extLst>
          </p:cNvPr>
          <p:cNvSpPr/>
          <p:nvPr/>
        </p:nvSpPr>
        <p:spPr>
          <a:xfrm>
            <a:off x="7263630" y="5230853"/>
            <a:ext cx="1557292" cy="30777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Segoe UI" panose="020B0502040204020203" pitchFamily="34" charset="0"/>
              </a:rPr>
              <a:t>EXECUTE</a:t>
            </a:r>
          </a:p>
        </p:txBody>
      </p:sp>
      <p:sp>
        <p:nvSpPr>
          <p:cNvPr id="40" name="Freeform 1671">
            <a:extLst>
              <a:ext uri="{FF2B5EF4-FFF2-40B4-BE49-F238E27FC236}">
                <a16:creationId xmlns:a16="http://schemas.microsoft.com/office/drawing/2014/main" id="{230195C4-B463-49DC-A20F-429936334E8C}"/>
              </a:ext>
            </a:extLst>
          </p:cNvPr>
          <p:cNvSpPr>
            <a:spLocks noEditPoints="1"/>
          </p:cNvSpPr>
          <p:nvPr/>
        </p:nvSpPr>
        <p:spPr bwMode="auto">
          <a:xfrm>
            <a:off x="2645108" y="1905392"/>
            <a:ext cx="380334" cy="380334"/>
          </a:xfrm>
          <a:custGeom>
            <a:avLst/>
            <a:gdLst>
              <a:gd name="T0" fmla="*/ 279 w 719"/>
              <a:gd name="T1" fmla="*/ 477 h 719"/>
              <a:gd name="T2" fmla="*/ 197 w 719"/>
              <a:gd name="T3" fmla="*/ 387 h 719"/>
              <a:gd name="T4" fmla="*/ 217 w 719"/>
              <a:gd name="T5" fmla="*/ 382 h 719"/>
              <a:gd name="T6" fmla="*/ 515 w 719"/>
              <a:gd name="T7" fmla="*/ 243 h 719"/>
              <a:gd name="T8" fmla="*/ 519 w 719"/>
              <a:gd name="T9" fmla="*/ 263 h 719"/>
              <a:gd name="T10" fmla="*/ 709 w 719"/>
              <a:gd name="T11" fmla="*/ 323 h 719"/>
              <a:gd name="T12" fmla="*/ 687 w 719"/>
              <a:gd name="T13" fmla="*/ 289 h 719"/>
              <a:gd name="T14" fmla="*/ 696 w 719"/>
              <a:gd name="T15" fmla="*/ 243 h 719"/>
              <a:gd name="T16" fmla="*/ 675 w 719"/>
              <a:gd name="T17" fmla="*/ 199 h 719"/>
              <a:gd name="T18" fmla="*/ 631 w 719"/>
              <a:gd name="T19" fmla="*/ 179 h 719"/>
              <a:gd name="T20" fmla="*/ 630 w 719"/>
              <a:gd name="T21" fmla="*/ 131 h 719"/>
              <a:gd name="T22" fmla="*/ 603 w 719"/>
              <a:gd name="T23" fmla="*/ 98 h 719"/>
              <a:gd name="T24" fmla="*/ 569 w 719"/>
              <a:gd name="T25" fmla="*/ 87 h 719"/>
              <a:gd name="T26" fmla="*/ 536 w 719"/>
              <a:gd name="T27" fmla="*/ 70 h 719"/>
              <a:gd name="T28" fmla="*/ 507 w 719"/>
              <a:gd name="T29" fmla="*/ 34 h 719"/>
              <a:gd name="T30" fmla="*/ 458 w 719"/>
              <a:gd name="T31" fmla="*/ 25 h 719"/>
              <a:gd name="T32" fmla="*/ 418 w 719"/>
              <a:gd name="T33" fmla="*/ 31 h 719"/>
              <a:gd name="T34" fmla="*/ 380 w 719"/>
              <a:gd name="T35" fmla="*/ 4 h 719"/>
              <a:gd name="T36" fmla="*/ 331 w 719"/>
              <a:gd name="T37" fmla="*/ 7 h 719"/>
              <a:gd name="T38" fmla="*/ 296 w 719"/>
              <a:gd name="T39" fmla="*/ 39 h 719"/>
              <a:gd name="T40" fmla="*/ 251 w 719"/>
              <a:gd name="T41" fmla="*/ 24 h 719"/>
              <a:gd name="T42" fmla="*/ 205 w 719"/>
              <a:gd name="T43" fmla="*/ 39 h 719"/>
              <a:gd name="T44" fmla="*/ 180 w 719"/>
              <a:gd name="T45" fmla="*/ 79 h 719"/>
              <a:gd name="T46" fmla="*/ 142 w 719"/>
              <a:gd name="T47" fmla="*/ 88 h 719"/>
              <a:gd name="T48" fmla="*/ 111 w 719"/>
              <a:gd name="T49" fmla="*/ 102 h 719"/>
              <a:gd name="T50" fmla="*/ 86 w 719"/>
              <a:gd name="T51" fmla="*/ 141 h 719"/>
              <a:gd name="T52" fmla="*/ 78 w 719"/>
              <a:gd name="T53" fmla="*/ 180 h 719"/>
              <a:gd name="T54" fmla="*/ 37 w 719"/>
              <a:gd name="T55" fmla="*/ 207 h 719"/>
              <a:gd name="T56" fmla="*/ 22 w 719"/>
              <a:gd name="T57" fmla="*/ 252 h 719"/>
              <a:gd name="T58" fmla="*/ 38 w 719"/>
              <a:gd name="T59" fmla="*/ 296 h 719"/>
              <a:gd name="T60" fmla="*/ 6 w 719"/>
              <a:gd name="T61" fmla="*/ 332 h 719"/>
              <a:gd name="T62" fmla="*/ 3 w 719"/>
              <a:gd name="T63" fmla="*/ 380 h 719"/>
              <a:gd name="T64" fmla="*/ 31 w 719"/>
              <a:gd name="T65" fmla="*/ 420 h 719"/>
              <a:gd name="T66" fmla="*/ 23 w 719"/>
              <a:gd name="T67" fmla="*/ 460 h 719"/>
              <a:gd name="T68" fmla="*/ 32 w 719"/>
              <a:gd name="T69" fmla="*/ 507 h 719"/>
              <a:gd name="T70" fmla="*/ 68 w 719"/>
              <a:gd name="T71" fmla="*/ 538 h 719"/>
              <a:gd name="T72" fmla="*/ 85 w 719"/>
              <a:gd name="T73" fmla="*/ 571 h 719"/>
              <a:gd name="T74" fmla="*/ 106 w 719"/>
              <a:gd name="T75" fmla="*/ 615 h 719"/>
              <a:gd name="T76" fmla="*/ 135 w 719"/>
              <a:gd name="T77" fmla="*/ 633 h 719"/>
              <a:gd name="T78" fmla="*/ 177 w 719"/>
              <a:gd name="T79" fmla="*/ 633 h 719"/>
              <a:gd name="T80" fmla="*/ 197 w 719"/>
              <a:gd name="T81" fmla="*/ 676 h 719"/>
              <a:gd name="T82" fmla="*/ 242 w 719"/>
              <a:gd name="T83" fmla="*/ 698 h 719"/>
              <a:gd name="T84" fmla="*/ 288 w 719"/>
              <a:gd name="T85" fmla="*/ 687 h 719"/>
              <a:gd name="T86" fmla="*/ 322 w 719"/>
              <a:gd name="T87" fmla="*/ 709 h 719"/>
              <a:gd name="T88" fmla="*/ 370 w 719"/>
              <a:gd name="T89" fmla="*/ 719 h 719"/>
              <a:gd name="T90" fmla="*/ 412 w 719"/>
              <a:gd name="T91" fmla="*/ 697 h 719"/>
              <a:gd name="T92" fmla="*/ 449 w 719"/>
              <a:gd name="T93" fmla="*/ 695 h 719"/>
              <a:gd name="T94" fmla="*/ 497 w 719"/>
              <a:gd name="T95" fmla="*/ 693 h 719"/>
              <a:gd name="T96" fmla="*/ 533 w 719"/>
              <a:gd name="T97" fmla="*/ 661 h 719"/>
              <a:gd name="T98" fmla="*/ 563 w 719"/>
              <a:gd name="T99" fmla="*/ 635 h 719"/>
              <a:gd name="T100" fmla="*/ 597 w 719"/>
              <a:gd name="T101" fmla="*/ 628 h 719"/>
              <a:gd name="T102" fmla="*/ 626 w 719"/>
              <a:gd name="T103" fmla="*/ 599 h 719"/>
              <a:gd name="T104" fmla="*/ 634 w 719"/>
              <a:gd name="T105" fmla="*/ 551 h 719"/>
              <a:gd name="T106" fmla="*/ 668 w 719"/>
              <a:gd name="T107" fmla="*/ 528 h 719"/>
              <a:gd name="T108" fmla="*/ 694 w 719"/>
              <a:gd name="T109" fmla="*/ 488 h 719"/>
              <a:gd name="T110" fmla="*/ 691 w 719"/>
              <a:gd name="T111" fmla="*/ 441 h 719"/>
              <a:gd name="T112" fmla="*/ 703 w 719"/>
              <a:gd name="T113" fmla="*/ 406 h 719"/>
              <a:gd name="T114" fmla="*/ 719 w 719"/>
              <a:gd name="T115" fmla="*/ 360 h 7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719" h="719">
                <a:moveTo>
                  <a:pt x="519" y="263"/>
                </a:moveTo>
                <a:lnTo>
                  <a:pt x="292" y="475"/>
                </a:lnTo>
                <a:lnTo>
                  <a:pt x="288" y="477"/>
                </a:lnTo>
                <a:lnTo>
                  <a:pt x="285" y="479"/>
                </a:lnTo>
                <a:lnTo>
                  <a:pt x="279" y="477"/>
                </a:lnTo>
                <a:lnTo>
                  <a:pt x="276" y="475"/>
                </a:lnTo>
                <a:lnTo>
                  <a:pt x="200" y="400"/>
                </a:lnTo>
                <a:lnTo>
                  <a:pt x="197" y="396"/>
                </a:lnTo>
                <a:lnTo>
                  <a:pt x="196" y="391"/>
                </a:lnTo>
                <a:lnTo>
                  <a:pt x="197" y="387"/>
                </a:lnTo>
                <a:lnTo>
                  <a:pt x="200" y="382"/>
                </a:lnTo>
                <a:lnTo>
                  <a:pt x="204" y="380"/>
                </a:lnTo>
                <a:lnTo>
                  <a:pt x="208" y="379"/>
                </a:lnTo>
                <a:lnTo>
                  <a:pt x="213" y="380"/>
                </a:lnTo>
                <a:lnTo>
                  <a:pt x="217" y="382"/>
                </a:lnTo>
                <a:lnTo>
                  <a:pt x="285" y="450"/>
                </a:lnTo>
                <a:lnTo>
                  <a:pt x="502" y="247"/>
                </a:lnTo>
                <a:lnTo>
                  <a:pt x="507" y="243"/>
                </a:lnTo>
                <a:lnTo>
                  <a:pt x="511" y="243"/>
                </a:lnTo>
                <a:lnTo>
                  <a:pt x="515" y="243"/>
                </a:lnTo>
                <a:lnTo>
                  <a:pt x="520" y="247"/>
                </a:lnTo>
                <a:lnTo>
                  <a:pt x="522" y="251"/>
                </a:lnTo>
                <a:lnTo>
                  <a:pt x="523" y="255"/>
                </a:lnTo>
                <a:lnTo>
                  <a:pt x="522" y="260"/>
                </a:lnTo>
                <a:lnTo>
                  <a:pt x="519" y="263"/>
                </a:lnTo>
                <a:close/>
                <a:moveTo>
                  <a:pt x="719" y="360"/>
                </a:moveTo>
                <a:lnTo>
                  <a:pt x="719" y="350"/>
                </a:lnTo>
                <a:lnTo>
                  <a:pt x="716" y="341"/>
                </a:lnTo>
                <a:lnTo>
                  <a:pt x="713" y="332"/>
                </a:lnTo>
                <a:lnTo>
                  <a:pt x="709" y="323"/>
                </a:lnTo>
                <a:lnTo>
                  <a:pt x="703" y="315"/>
                </a:lnTo>
                <a:lnTo>
                  <a:pt x="696" y="308"/>
                </a:lnTo>
                <a:lnTo>
                  <a:pt x="689" y="302"/>
                </a:lnTo>
                <a:lnTo>
                  <a:pt x="681" y="296"/>
                </a:lnTo>
                <a:lnTo>
                  <a:pt x="687" y="289"/>
                </a:lnTo>
                <a:lnTo>
                  <a:pt x="691" y="280"/>
                </a:lnTo>
                <a:lnTo>
                  <a:pt x="694" y="271"/>
                </a:lnTo>
                <a:lnTo>
                  <a:pt x="696" y="262"/>
                </a:lnTo>
                <a:lnTo>
                  <a:pt x="696" y="252"/>
                </a:lnTo>
                <a:lnTo>
                  <a:pt x="696" y="243"/>
                </a:lnTo>
                <a:lnTo>
                  <a:pt x="694" y="233"/>
                </a:lnTo>
                <a:lnTo>
                  <a:pt x="692" y="223"/>
                </a:lnTo>
                <a:lnTo>
                  <a:pt x="688" y="215"/>
                </a:lnTo>
                <a:lnTo>
                  <a:pt x="682" y="207"/>
                </a:lnTo>
                <a:lnTo>
                  <a:pt x="675" y="199"/>
                </a:lnTo>
                <a:lnTo>
                  <a:pt x="668" y="193"/>
                </a:lnTo>
                <a:lnTo>
                  <a:pt x="660" y="188"/>
                </a:lnTo>
                <a:lnTo>
                  <a:pt x="651" y="184"/>
                </a:lnTo>
                <a:lnTo>
                  <a:pt x="641" y="180"/>
                </a:lnTo>
                <a:lnTo>
                  <a:pt x="631" y="179"/>
                </a:lnTo>
                <a:lnTo>
                  <a:pt x="634" y="169"/>
                </a:lnTo>
                <a:lnTo>
                  <a:pt x="635" y="161"/>
                </a:lnTo>
                <a:lnTo>
                  <a:pt x="635" y="151"/>
                </a:lnTo>
                <a:lnTo>
                  <a:pt x="632" y="141"/>
                </a:lnTo>
                <a:lnTo>
                  <a:pt x="630" y="131"/>
                </a:lnTo>
                <a:lnTo>
                  <a:pt x="626" y="122"/>
                </a:lnTo>
                <a:lnTo>
                  <a:pt x="620" y="114"/>
                </a:lnTo>
                <a:lnTo>
                  <a:pt x="614" y="106"/>
                </a:lnTo>
                <a:lnTo>
                  <a:pt x="608" y="102"/>
                </a:lnTo>
                <a:lnTo>
                  <a:pt x="603" y="98"/>
                </a:lnTo>
                <a:lnTo>
                  <a:pt x="597" y="94"/>
                </a:lnTo>
                <a:lnTo>
                  <a:pt x="590" y="91"/>
                </a:lnTo>
                <a:lnTo>
                  <a:pt x="584" y="89"/>
                </a:lnTo>
                <a:lnTo>
                  <a:pt x="577" y="88"/>
                </a:lnTo>
                <a:lnTo>
                  <a:pt x="569" y="87"/>
                </a:lnTo>
                <a:lnTo>
                  <a:pt x="563" y="85"/>
                </a:lnTo>
                <a:lnTo>
                  <a:pt x="552" y="87"/>
                </a:lnTo>
                <a:lnTo>
                  <a:pt x="542" y="89"/>
                </a:lnTo>
                <a:lnTo>
                  <a:pt x="540" y="79"/>
                </a:lnTo>
                <a:lnTo>
                  <a:pt x="536" y="70"/>
                </a:lnTo>
                <a:lnTo>
                  <a:pt x="533" y="61"/>
                </a:lnTo>
                <a:lnTo>
                  <a:pt x="528" y="53"/>
                </a:lnTo>
                <a:lnTo>
                  <a:pt x="522" y="46"/>
                </a:lnTo>
                <a:lnTo>
                  <a:pt x="514" y="39"/>
                </a:lnTo>
                <a:lnTo>
                  <a:pt x="507" y="34"/>
                </a:lnTo>
                <a:lnTo>
                  <a:pt x="497" y="28"/>
                </a:lnTo>
                <a:lnTo>
                  <a:pt x="488" y="26"/>
                </a:lnTo>
                <a:lnTo>
                  <a:pt x="478" y="24"/>
                </a:lnTo>
                <a:lnTo>
                  <a:pt x="468" y="24"/>
                </a:lnTo>
                <a:lnTo>
                  <a:pt x="458" y="25"/>
                </a:lnTo>
                <a:lnTo>
                  <a:pt x="449" y="27"/>
                </a:lnTo>
                <a:lnTo>
                  <a:pt x="440" y="29"/>
                </a:lnTo>
                <a:lnTo>
                  <a:pt x="431" y="34"/>
                </a:lnTo>
                <a:lnTo>
                  <a:pt x="424" y="39"/>
                </a:lnTo>
                <a:lnTo>
                  <a:pt x="418" y="31"/>
                </a:lnTo>
                <a:lnTo>
                  <a:pt x="412" y="24"/>
                </a:lnTo>
                <a:lnTo>
                  <a:pt x="405" y="17"/>
                </a:lnTo>
                <a:lnTo>
                  <a:pt x="397" y="11"/>
                </a:lnTo>
                <a:lnTo>
                  <a:pt x="388" y="7"/>
                </a:lnTo>
                <a:lnTo>
                  <a:pt x="380" y="4"/>
                </a:lnTo>
                <a:lnTo>
                  <a:pt x="370" y="2"/>
                </a:lnTo>
                <a:lnTo>
                  <a:pt x="360" y="0"/>
                </a:lnTo>
                <a:lnTo>
                  <a:pt x="350" y="2"/>
                </a:lnTo>
                <a:lnTo>
                  <a:pt x="340" y="4"/>
                </a:lnTo>
                <a:lnTo>
                  <a:pt x="331" y="7"/>
                </a:lnTo>
                <a:lnTo>
                  <a:pt x="322" y="11"/>
                </a:lnTo>
                <a:lnTo>
                  <a:pt x="314" y="17"/>
                </a:lnTo>
                <a:lnTo>
                  <a:pt x="307" y="24"/>
                </a:lnTo>
                <a:lnTo>
                  <a:pt x="301" y="31"/>
                </a:lnTo>
                <a:lnTo>
                  <a:pt x="296" y="39"/>
                </a:lnTo>
                <a:lnTo>
                  <a:pt x="288" y="34"/>
                </a:lnTo>
                <a:lnTo>
                  <a:pt x="279" y="29"/>
                </a:lnTo>
                <a:lnTo>
                  <a:pt x="270" y="27"/>
                </a:lnTo>
                <a:lnTo>
                  <a:pt x="260" y="25"/>
                </a:lnTo>
                <a:lnTo>
                  <a:pt x="251" y="24"/>
                </a:lnTo>
                <a:lnTo>
                  <a:pt x="242" y="24"/>
                </a:lnTo>
                <a:lnTo>
                  <a:pt x="232" y="26"/>
                </a:lnTo>
                <a:lnTo>
                  <a:pt x="222" y="28"/>
                </a:lnTo>
                <a:lnTo>
                  <a:pt x="213" y="34"/>
                </a:lnTo>
                <a:lnTo>
                  <a:pt x="205" y="39"/>
                </a:lnTo>
                <a:lnTo>
                  <a:pt x="197" y="46"/>
                </a:lnTo>
                <a:lnTo>
                  <a:pt x="192" y="52"/>
                </a:lnTo>
                <a:lnTo>
                  <a:pt x="186" y="61"/>
                </a:lnTo>
                <a:lnTo>
                  <a:pt x="182" y="69"/>
                </a:lnTo>
                <a:lnTo>
                  <a:pt x="180" y="79"/>
                </a:lnTo>
                <a:lnTo>
                  <a:pt x="177" y="89"/>
                </a:lnTo>
                <a:lnTo>
                  <a:pt x="168" y="87"/>
                </a:lnTo>
                <a:lnTo>
                  <a:pt x="156" y="85"/>
                </a:lnTo>
                <a:lnTo>
                  <a:pt x="149" y="87"/>
                </a:lnTo>
                <a:lnTo>
                  <a:pt x="142" y="88"/>
                </a:lnTo>
                <a:lnTo>
                  <a:pt x="135" y="89"/>
                </a:lnTo>
                <a:lnTo>
                  <a:pt x="129" y="91"/>
                </a:lnTo>
                <a:lnTo>
                  <a:pt x="122" y="94"/>
                </a:lnTo>
                <a:lnTo>
                  <a:pt x="117" y="98"/>
                </a:lnTo>
                <a:lnTo>
                  <a:pt x="111" y="102"/>
                </a:lnTo>
                <a:lnTo>
                  <a:pt x="106" y="106"/>
                </a:lnTo>
                <a:lnTo>
                  <a:pt x="99" y="114"/>
                </a:lnTo>
                <a:lnTo>
                  <a:pt x="94" y="122"/>
                </a:lnTo>
                <a:lnTo>
                  <a:pt x="89" y="131"/>
                </a:lnTo>
                <a:lnTo>
                  <a:pt x="86" y="141"/>
                </a:lnTo>
                <a:lnTo>
                  <a:pt x="85" y="151"/>
                </a:lnTo>
                <a:lnTo>
                  <a:pt x="85" y="161"/>
                </a:lnTo>
                <a:lnTo>
                  <a:pt x="85" y="169"/>
                </a:lnTo>
                <a:lnTo>
                  <a:pt x="87" y="179"/>
                </a:lnTo>
                <a:lnTo>
                  <a:pt x="78" y="180"/>
                </a:lnTo>
                <a:lnTo>
                  <a:pt x="68" y="184"/>
                </a:lnTo>
                <a:lnTo>
                  <a:pt x="59" y="188"/>
                </a:lnTo>
                <a:lnTo>
                  <a:pt x="52" y="193"/>
                </a:lnTo>
                <a:lnTo>
                  <a:pt x="44" y="199"/>
                </a:lnTo>
                <a:lnTo>
                  <a:pt x="37" y="207"/>
                </a:lnTo>
                <a:lnTo>
                  <a:pt x="32" y="215"/>
                </a:lnTo>
                <a:lnTo>
                  <a:pt x="27" y="223"/>
                </a:lnTo>
                <a:lnTo>
                  <a:pt x="24" y="233"/>
                </a:lnTo>
                <a:lnTo>
                  <a:pt x="23" y="243"/>
                </a:lnTo>
                <a:lnTo>
                  <a:pt x="22" y="252"/>
                </a:lnTo>
                <a:lnTo>
                  <a:pt x="23" y="262"/>
                </a:lnTo>
                <a:lnTo>
                  <a:pt x="25" y="271"/>
                </a:lnTo>
                <a:lnTo>
                  <a:pt x="28" y="280"/>
                </a:lnTo>
                <a:lnTo>
                  <a:pt x="33" y="289"/>
                </a:lnTo>
                <a:lnTo>
                  <a:pt x="38" y="296"/>
                </a:lnTo>
                <a:lnTo>
                  <a:pt x="31" y="302"/>
                </a:lnTo>
                <a:lnTo>
                  <a:pt x="23" y="308"/>
                </a:lnTo>
                <a:lnTo>
                  <a:pt x="16" y="315"/>
                </a:lnTo>
                <a:lnTo>
                  <a:pt x="11" y="323"/>
                </a:lnTo>
                <a:lnTo>
                  <a:pt x="6" y="332"/>
                </a:lnTo>
                <a:lnTo>
                  <a:pt x="3" y="341"/>
                </a:lnTo>
                <a:lnTo>
                  <a:pt x="1" y="350"/>
                </a:lnTo>
                <a:lnTo>
                  <a:pt x="0" y="360"/>
                </a:lnTo>
                <a:lnTo>
                  <a:pt x="1" y="370"/>
                </a:lnTo>
                <a:lnTo>
                  <a:pt x="3" y="380"/>
                </a:lnTo>
                <a:lnTo>
                  <a:pt x="6" y="389"/>
                </a:lnTo>
                <a:lnTo>
                  <a:pt x="11" y="398"/>
                </a:lnTo>
                <a:lnTo>
                  <a:pt x="16" y="406"/>
                </a:lnTo>
                <a:lnTo>
                  <a:pt x="23" y="413"/>
                </a:lnTo>
                <a:lnTo>
                  <a:pt x="31" y="420"/>
                </a:lnTo>
                <a:lnTo>
                  <a:pt x="38" y="424"/>
                </a:lnTo>
                <a:lnTo>
                  <a:pt x="33" y="433"/>
                </a:lnTo>
                <a:lnTo>
                  <a:pt x="28" y="441"/>
                </a:lnTo>
                <a:lnTo>
                  <a:pt x="25" y="450"/>
                </a:lnTo>
                <a:lnTo>
                  <a:pt x="23" y="460"/>
                </a:lnTo>
                <a:lnTo>
                  <a:pt x="22" y="470"/>
                </a:lnTo>
                <a:lnTo>
                  <a:pt x="23" y="479"/>
                </a:lnTo>
                <a:lnTo>
                  <a:pt x="24" y="488"/>
                </a:lnTo>
                <a:lnTo>
                  <a:pt x="27" y="498"/>
                </a:lnTo>
                <a:lnTo>
                  <a:pt x="32" y="507"/>
                </a:lnTo>
                <a:lnTo>
                  <a:pt x="37" y="515"/>
                </a:lnTo>
                <a:lnTo>
                  <a:pt x="44" y="523"/>
                </a:lnTo>
                <a:lnTo>
                  <a:pt x="52" y="528"/>
                </a:lnTo>
                <a:lnTo>
                  <a:pt x="59" y="534"/>
                </a:lnTo>
                <a:lnTo>
                  <a:pt x="68" y="538"/>
                </a:lnTo>
                <a:lnTo>
                  <a:pt x="78" y="540"/>
                </a:lnTo>
                <a:lnTo>
                  <a:pt x="87" y="543"/>
                </a:lnTo>
                <a:lnTo>
                  <a:pt x="85" y="551"/>
                </a:lnTo>
                <a:lnTo>
                  <a:pt x="85" y="561"/>
                </a:lnTo>
                <a:lnTo>
                  <a:pt x="85" y="571"/>
                </a:lnTo>
                <a:lnTo>
                  <a:pt x="86" y="580"/>
                </a:lnTo>
                <a:lnTo>
                  <a:pt x="89" y="590"/>
                </a:lnTo>
                <a:lnTo>
                  <a:pt x="94" y="599"/>
                </a:lnTo>
                <a:lnTo>
                  <a:pt x="99" y="608"/>
                </a:lnTo>
                <a:lnTo>
                  <a:pt x="106" y="615"/>
                </a:lnTo>
                <a:lnTo>
                  <a:pt x="111" y="620"/>
                </a:lnTo>
                <a:lnTo>
                  <a:pt x="117" y="624"/>
                </a:lnTo>
                <a:lnTo>
                  <a:pt x="122" y="628"/>
                </a:lnTo>
                <a:lnTo>
                  <a:pt x="129" y="631"/>
                </a:lnTo>
                <a:lnTo>
                  <a:pt x="135" y="633"/>
                </a:lnTo>
                <a:lnTo>
                  <a:pt x="142" y="634"/>
                </a:lnTo>
                <a:lnTo>
                  <a:pt x="149" y="635"/>
                </a:lnTo>
                <a:lnTo>
                  <a:pt x="156" y="635"/>
                </a:lnTo>
                <a:lnTo>
                  <a:pt x="168" y="635"/>
                </a:lnTo>
                <a:lnTo>
                  <a:pt x="177" y="633"/>
                </a:lnTo>
                <a:lnTo>
                  <a:pt x="180" y="643"/>
                </a:lnTo>
                <a:lnTo>
                  <a:pt x="182" y="652"/>
                </a:lnTo>
                <a:lnTo>
                  <a:pt x="186" y="661"/>
                </a:lnTo>
                <a:lnTo>
                  <a:pt x="192" y="668"/>
                </a:lnTo>
                <a:lnTo>
                  <a:pt x="197" y="676"/>
                </a:lnTo>
                <a:lnTo>
                  <a:pt x="205" y="683"/>
                </a:lnTo>
                <a:lnTo>
                  <a:pt x="213" y="688"/>
                </a:lnTo>
                <a:lnTo>
                  <a:pt x="222" y="693"/>
                </a:lnTo>
                <a:lnTo>
                  <a:pt x="232" y="696"/>
                </a:lnTo>
                <a:lnTo>
                  <a:pt x="242" y="698"/>
                </a:lnTo>
                <a:lnTo>
                  <a:pt x="251" y="698"/>
                </a:lnTo>
                <a:lnTo>
                  <a:pt x="260" y="697"/>
                </a:lnTo>
                <a:lnTo>
                  <a:pt x="270" y="695"/>
                </a:lnTo>
                <a:lnTo>
                  <a:pt x="279" y="692"/>
                </a:lnTo>
                <a:lnTo>
                  <a:pt x="288" y="687"/>
                </a:lnTo>
                <a:lnTo>
                  <a:pt x="296" y="682"/>
                </a:lnTo>
                <a:lnTo>
                  <a:pt x="301" y="689"/>
                </a:lnTo>
                <a:lnTo>
                  <a:pt x="307" y="697"/>
                </a:lnTo>
                <a:lnTo>
                  <a:pt x="314" y="704"/>
                </a:lnTo>
                <a:lnTo>
                  <a:pt x="322" y="709"/>
                </a:lnTo>
                <a:lnTo>
                  <a:pt x="331" y="714"/>
                </a:lnTo>
                <a:lnTo>
                  <a:pt x="340" y="717"/>
                </a:lnTo>
                <a:lnTo>
                  <a:pt x="350" y="719"/>
                </a:lnTo>
                <a:lnTo>
                  <a:pt x="360" y="719"/>
                </a:lnTo>
                <a:lnTo>
                  <a:pt x="370" y="719"/>
                </a:lnTo>
                <a:lnTo>
                  <a:pt x="380" y="717"/>
                </a:lnTo>
                <a:lnTo>
                  <a:pt x="388" y="714"/>
                </a:lnTo>
                <a:lnTo>
                  <a:pt x="397" y="709"/>
                </a:lnTo>
                <a:lnTo>
                  <a:pt x="405" y="704"/>
                </a:lnTo>
                <a:lnTo>
                  <a:pt x="412" y="697"/>
                </a:lnTo>
                <a:lnTo>
                  <a:pt x="418" y="689"/>
                </a:lnTo>
                <a:lnTo>
                  <a:pt x="424" y="682"/>
                </a:lnTo>
                <a:lnTo>
                  <a:pt x="431" y="687"/>
                </a:lnTo>
                <a:lnTo>
                  <a:pt x="440" y="692"/>
                </a:lnTo>
                <a:lnTo>
                  <a:pt x="449" y="695"/>
                </a:lnTo>
                <a:lnTo>
                  <a:pt x="458" y="697"/>
                </a:lnTo>
                <a:lnTo>
                  <a:pt x="468" y="698"/>
                </a:lnTo>
                <a:lnTo>
                  <a:pt x="478" y="698"/>
                </a:lnTo>
                <a:lnTo>
                  <a:pt x="488" y="696"/>
                </a:lnTo>
                <a:lnTo>
                  <a:pt x="497" y="693"/>
                </a:lnTo>
                <a:lnTo>
                  <a:pt x="507" y="688"/>
                </a:lnTo>
                <a:lnTo>
                  <a:pt x="514" y="683"/>
                </a:lnTo>
                <a:lnTo>
                  <a:pt x="522" y="676"/>
                </a:lnTo>
                <a:lnTo>
                  <a:pt x="528" y="668"/>
                </a:lnTo>
                <a:lnTo>
                  <a:pt x="533" y="661"/>
                </a:lnTo>
                <a:lnTo>
                  <a:pt x="536" y="652"/>
                </a:lnTo>
                <a:lnTo>
                  <a:pt x="540" y="643"/>
                </a:lnTo>
                <a:lnTo>
                  <a:pt x="541" y="633"/>
                </a:lnTo>
                <a:lnTo>
                  <a:pt x="552" y="635"/>
                </a:lnTo>
                <a:lnTo>
                  <a:pt x="563" y="635"/>
                </a:lnTo>
                <a:lnTo>
                  <a:pt x="569" y="635"/>
                </a:lnTo>
                <a:lnTo>
                  <a:pt x="577" y="634"/>
                </a:lnTo>
                <a:lnTo>
                  <a:pt x="584" y="633"/>
                </a:lnTo>
                <a:lnTo>
                  <a:pt x="590" y="631"/>
                </a:lnTo>
                <a:lnTo>
                  <a:pt x="597" y="628"/>
                </a:lnTo>
                <a:lnTo>
                  <a:pt x="603" y="624"/>
                </a:lnTo>
                <a:lnTo>
                  <a:pt x="608" y="620"/>
                </a:lnTo>
                <a:lnTo>
                  <a:pt x="614" y="615"/>
                </a:lnTo>
                <a:lnTo>
                  <a:pt x="620" y="608"/>
                </a:lnTo>
                <a:lnTo>
                  <a:pt x="626" y="599"/>
                </a:lnTo>
                <a:lnTo>
                  <a:pt x="630" y="590"/>
                </a:lnTo>
                <a:lnTo>
                  <a:pt x="632" y="580"/>
                </a:lnTo>
                <a:lnTo>
                  <a:pt x="635" y="571"/>
                </a:lnTo>
                <a:lnTo>
                  <a:pt x="635" y="561"/>
                </a:lnTo>
                <a:lnTo>
                  <a:pt x="634" y="551"/>
                </a:lnTo>
                <a:lnTo>
                  <a:pt x="631" y="543"/>
                </a:lnTo>
                <a:lnTo>
                  <a:pt x="641" y="540"/>
                </a:lnTo>
                <a:lnTo>
                  <a:pt x="651" y="538"/>
                </a:lnTo>
                <a:lnTo>
                  <a:pt x="660" y="534"/>
                </a:lnTo>
                <a:lnTo>
                  <a:pt x="668" y="528"/>
                </a:lnTo>
                <a:lnTo>
                  <a:pt x="675" y="523"/>
                </a:lnTo>
                <a:lnTo>
                  <a:pt x="682" y="515"/>
                </a:lnTo>
                <a:lnTo>
                  <a:pt x="688" y="507"/>
                </a:lnTo>
                <a:lnTo>
                  <a:pt x="692" y="498"/>
                </a:lnTo>
                <a:lnTo>
                  <a:pt x="694" y="488"/>
                </a:lnTo>
                <a:lnTo>
                  <a:pt x="696" y="479"/>
                </a:lnTo>
                <a:lnTo>
                  <a:pt x="698" y="470"/>
                </a:lnTo>
                <a:lnTo>
                  <a:pt x="696" y="460"/>
                </a:lnTo>
                <a:lnTo>
                  <a:pt x="694" y="450"/>
                </a:lnTo>
                <a:lnTo>
                  <a:pt x="691" y="441"/>
                </a:lnTo>
                <a:lnTo>
                  <a:pt x="687" y="433"/>
                </a:lnTo>
                <a:lnTo>
                  <a:pt x="681" y="424"/>
                </a:lnTo>
                <a:lnTo>
                  <a:pt x="689" y="420"/>
                </a:lnTo>
                <a:lnTo>
                  <a:pt x="696" y="413"/>
                </a:lnTo>
                <a:lnTo>
                  <a:pt x="703" y="406"/>
                </a:lnTo>
                <a:lnTo>
                  <a:pt x="709" y="398"/>
                </a:lnTo>
                <a:lnTo>
                  <a:pt x="713" y="389"/>
                </a:lnTo>
                <a:lnTo>
                  <a:pt x="716" y="380"/>
                </a:lnTo>
                <a:lnTo>
                  <a:pt x="719" y="370"/>
                </a:lnTo>
                <a:lnTo>
                  <a:pt x="719" y="36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" name="Freeform 1348">
            <a:extLst>
              <a:ext uri="{FF2B5EF4-FFF2-40B4-BE49-F238E27FC236}">
                <a16:creationId xmlns:a16="http://schemas.microsoft.com/office/drawing/2014/main" id="{1B4F5A21-72B9-4817-98F8-5EDF6BE7CDBB}"/>
              </a:ext>
            </a:extLst>
          </p:cNvPr>
          <p:cNvSpPr>
            <a:spLocks noEditPoints="1"/>
          </p:cNvSpPr>
          <p:nvPr/>
        </p:nvSpPr>
        <p:spPr bwMode="auto">
          <a:xfrm>
            <a:off x="9164708" y="1905392"/>
            <a:ext cx="382447" cy="380334"/>
          </a:xfrm>
          <a:custGeom>
            <a:avLst/>
            <a:gdLst>
              <a:gd name="T0" fmla="*/ 399 w 904"/>
              <a:gd name="T1" fmla="*/ 62 h 902"/>
              <a:gd name="T2" fmla="*/ 198 w 904"/>
              <a:gd name="T3" fmla="*/ 433 h 902"/>
              <a:gd name="T4" fmla="*/ 803 w 904"/>
              <a:gd name="T5" fmla="*/ 872 h 902"/>
              <a:gd name="T6" fmla="*/ 854 w 904"/>
              <a:gd name="T7" fmla="*/ 813 h 902"/>
              <a:gd name="T8" fmla="*/ 869 w 904"/>
              <a:gd name="T9" fmla="*/ 777 h 902"/>
              <a:gd name="T10" fmla="*/ 873 w 904"/>
              <a:gd name="T11" fmla="*/ 736 h 902"/>
              <a:gd name="T12" fmla="*/ 866 w 904"/>
              <a:gd name="T13" fmla="*/ 357 h 902"/>
              <a:gd name="T14" fmla="*/ 836 w 904"/>
              <a:gd name="T15" fmla="*/ 301 h 902"/>
              <a:gd name="T16" fmla="*/ 786 w 904"/>
              <a:gd name="T17" fmla="*/ 260 h 902"/>
              <a:gd name="T18" fmla="*/ 724 w 904"/>
              <a:gd name="T19" fmla="*/ 240 h 902"/>
              <a:gd name="T20" fmla="*/ 461 w 904"/>
              <a:gd name="T21" fmla="*/ 143 h 902"/>
              <a:gd name="T22" fmla="*/ 411 w 904"/>
              <a:gd name="T23" fmla="*/ 115 h 902"/>
              <a:gd name="T24" fmla="*/ 453 w 904"/>
              <a:gd name="T25" fmla="*/ 80 h 902"/>
              <a:gd name="T26" fmla="*/ 467 w 904"/>
              <a:gd name="T27" fmla="*/ 70 h 902"/>
              <a:gd name="T28" fmla="*/ 463 w 904"/>
              <a:gd name="T29" fmla="*/ 54 h 902"/>
              <a:gd name="T30" fmla="*/ 351 w 904"/>
              <a:gd name="T31" fmla="*/ 13 h 902"/>
              <a:gd name="T32" fmla="*/ 309 w 904"/>
              <a:gd name="T33" fmla="*/ 0 h 902"/>
              <a:gd name="T34" fmla="*/ 295 w 904"/>
              <a:gd name="T35" fmla="*/ 16 h 902"/>
              <a:gd name="T36" fmla="*/ 327 w 904"/>
              <a:gd name="T37" fmla="*/ 36 h 902"/>
              <a:gd name="T38" fmla="*/ 260 w 904"/>
              <a:gd name="T39" fmla="*/ 65 h 902"/>
              <a:gd name="T40" fmla="*/ 138 w 904"/>
              <a:gd name="T41" fmla="*/ 403 h 902"/>
              <a:gd name="T42" fmla="*/ 169 w 904"/>
              <a:gd name="T43" fmla="*/ 424 h 902"/>
              <a:gd name="T44" fmla="*/ 141 w 904"/>
              <a:gd name="T45" fmla="*/ 533 h 902"/>
              <a:gd name="T46" fmla="*/ 223 w 904"/>
              <a:gd name="T47" fmla="*/ 562 h 902"/>
              <a:gd name="T48" fmla="*/ 237 w 904"/>
              <a:gd name="T49" fmla="*/ 552 h 902"/>
              <a:gd name="T50" fmla="*/ 332 w 904"/>
              <a:gd name="T51" fmla="*/ 481 h 902"/>
              <a:gd name="T52" fmla="*/ 346 w 904"/>
              <a:gd name="T53" fmla="*/ 470 h 902"/>
              <a:gd name="T54" fmla="*/ 507 w 904"/>
              <a:gd name="T55" fmla="*/ 419 h 902"/>
              <a:gd name="T56" fmla="*/ 600 w 904"/>
              <a:gd name="T57" fmla="*/ 421 h 902"/>
              <a:gd name="T58" fmla="*/ 643 w 904"/>
              <a:gd name="T59" fmla="*/ 433 h 902"/>
              <a:gd name="T60" fmla="*/ 673 w 904"/>
              <a:gd name="T61" fmla="*/ 464 h 902"/>
              <a:gd name="T62" fmla="*/ 689 w 904"/>
              <a:gd name="T63" fmla="*/ 510 h 902"/>
              <a:gd name="T64" fmla="*/ 692 w 904"/>
              <a:gd name="T65" fmla="*/ 631 h 902"/>
              <a:gd name="T66" fmla="*/ 686 w 904"/>
              <a:gd name="T67" fmla="*/ 683 h 902"/>
              <a:gd name="T68" fmla="*/ 667 w 904"/>
              <a:gd name="T69" fmla="*/ 721 h 902"/>
              <a:gd name="T70" fmla="*/ 634 w 904"/>
              <a:gd name="T71" fmla="*/ 744 h 902"/>
              <a:gd name="T72" fmla="*/ 587 w 904"/>
              <a:gd name="T73" fmla="*/ 751 h 902"/>
              <a:gd name="T74" fmla="*/ 353 w 904"/>
              <a:gd name="T75" fmla="*/ 660 h 902"/>
              <a:gd name="T76" fmla="*/ 361 w 904"/>
              <a:gd name="T77" fmla="*/ 641 h 902"/>
              <a:gd name="T78" fmla="*/ 212 w 904"/>
              <a:gd name="T79" fmla="*/ 631 h 902"/>
              <a:gd name="T80" fmla="*/ 5 w 904"/>
              <a:gd name="T81" fmla="*/ 636 h 902"/>
              <a:gd name="T82" fmla="*/ 5 w 904"/>
              <a:gd name="T83" fmla="*/ 657 h 902"/>
              <a:gd name="T84" fmla="*/ 91 w 904"/>
              <a:gd name="T85" fmla="*/ 872 h 902"/>
              <a:gd name="T86" fmla="*/ 2 w 904"/>
              <a:gd name="T87" fmla="*/ 881 h 902"/>
              <a:gd name="T88" fmla="*/ 10 w 904"/>
              <a:gd name="T89" fmla="*/ 901 h 902"/>
              <a:gd name="T90" fmla="*/ 888 w 904"/>
              <a:gd name="T91" fmla="*/ 902 h 902"/>
              <a:gd name="T92" fmla="*/ 904 w 904"/>
              <a:gd name="T93" fmla="*/ 886 h 902"/>
              <a:gd name="T94" fmla="*/ 888 w 904"/>
              <a:gd name="T95" fmla="*/ 872 h 9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904" h="902">
                <a:moveTo>
                  <a:pt x="383" y="104"/>
                </a:moveTo>
                <a:lnTo>
                  <a:pt x="339" y="90"/>
                </a:lnTo>
                <a:lnTo>
                  <a:pt x="355" y="47"/>
                </a:lnTo>
                <a:lnTo>
                  <a:pt x="399" y="62"/>
                </a:lnTo>
                <a:lnTo>
                  <a:pt x="383" y="104"/>
                </a:lnTo>
                <a:close/>
                <a:moveTo>
                  <a:pt x="213" y="527"/>
                </a:moveTo>
                <a:lnTo>
                  <a:pt x="170" y="512"/>
                </a:lnTo>
                <a:lnTo>
                  <a:pt x="198" y="433"/>
                </a:lnTo>
                <a:lnTo>
                  <a:pt x="241" y="449"/>
                </a:lnTo>
                <a:lnTo>
                  <a:pt x="213" y="527"/>
                </a:lnTo>
                <a:close/>
                <a:moveTo>
                  <a:pt x="888" y="872"/>
                </a:moveTo>
                <a:lnTo>
                  <a:pt x="803" y="872"/>
                </a:lnTo>
                <a:lnTo>
                  <a:pt x="818" y="859"/>
                </a:lnTo>
                <a:lnTo>
                  <a:pt x="832" y="846"/>
                </a:lnTo>
                <a:lnTo>
                  <a:pt x="843" y="830"/>
                </a:lnTo>
                <a:lnTo>
                  <a:pt x="854" y="813"/>
                </a:lnTo>
                <a:lnTo>
                  <a:pt x="858" y="805"/>
                </a:lnTo>
                <a:lnTo>
                  <a:pt x="862" y="796"/>
                </a:lnTo>
                <a:lnTo>
                  <a:pt x="865" y="787"/>
                </a:lnTo>
                <a:lnTo>
                  <a:pt x="869" y="777"/>
                </a:lnTo>
                <a:lnTo>
                  <a:pt x="870" y="767"/>
                </a:lnTo>
                <a:lnTo>
                  <a:pt x="872" y="757"/>
                </a:lnTo>
                <a:lnTo>
                  <a:pt x="873" y="747"/>
                </a:lnTo>
                <a:lnTo>
                  <a:pt x="873" y="736"/>
                </a:lnTo>
                <a:lnTo>
                  <a:pt x="873" y="405"/>
                </a:lnTo>
                <a:lnTo>
                  <a:pt x="872" y="388"/>
                </a:lnTo>
                <a:lnTo>
                  <a:pt x="870" y="373"/>
                </a:lnTo>
                <a:lnTo>
                  <a:pt x="866" y="357"/>
                </a:lnTo>
                <a:lnTo>
                  <a:pt x="860" y="341"/>
                </a:lnTo>
                <a:lnTo>
                  <a:pt x="853" y="326"/>
                </a:lnTo>
                <a:lnTo>
                  <a:pt x="844" y="313"/>
                </a:lnTo>
                <a:lnTo>
                  <a:pt x="836" y="301"/>
                </a:lnTo>
                <a:lnTo>
                  <a:pt x="825" y="289"/>
                </a:lnTo>
                <a:lnTo>
                  <a:pt x="813" y="278"/>
                </a:lnTo>
                <a:lnTo>
                  <a:pt x="801" y="268"/>
                </a:lnTo>
                <a:lnTo>
                  <a:pt x="786" y="260"/>
                </a:lnTo>
                <a:lnTo>
                  <a:pt x="771" y="252"/>
                </a:lnTo>
                <a:lnTo>
                  <a:pt x="757" y="248"/>
                </a:lnTo>
                <a:lnTo>
                  <a:pt x="741" y="243"/>
                </a:lnTo>
                <a:lnTo>
                  <a:pt x="724" y="240"/>
                </a:lnTo>
                <a:lnTo>
                  <a:pt x="708" y="240"/>
                </a:lnTo>
                <a:lnTo>
                  <a:pt x="428" y="240"/>
                </a:lnTo>
                <a:lnTo>
                  <a:pt x="459" y="148"/>
                </a:lnTo>
                <a:lnTo>
                  <a:pt x="461" y="143"/>
                </a:lnTo>
                <a:lnTo>
                  <a:pt x="459" y="136"/>
                </a:lnTo>
                <a:lnTo>
                  <a:pt x="456" y="132"/>
                </a:lnTo>
                <a:lnTo>
                  <a:pt x="451" y="129"/>
                </a:lnTo>
                <a:lnTo>
                  <a:pt x="411" y="115"/>
                </a:lnTo>
                <a:lnTo>
                  <a:pt x="427" y="71"/>
                </a:lnTo>
                <a:lnTo>
                  <a:pt x="448" y="79"/>
                </a:lnTo>
                <a:lnTo>
                  <a:pt x="451" y="80"/>
                </a:lnTo>
                <a:lnTo>
                  <a:pt x="453" y="80"/>
                </a:lnTo>
                <a:lnTo>
                  <a:pt x="458" y="80"/>
                </a:lnTo>
                <a:lnTo>
                  <a:pt x="462" y="78"/>
                </a:lnTo>
                <a:lnTo>
                  <a:pt x="465" y="74"/>
                </a:lnTo>
                <a:lnTo>
                  <a:pt x="467" y="70"/>
                </a:lnTo>
                <a:lnTo>
                  <a:pt x="468" y="64"/>
                </a:lnTo>
                <a:lnTo>
                  <a:pt x="467" y="58"/>
                </a:lnTo>
                <a:lnTo>
                  <a:pt x="465" y="56"/>
                </a:lnTo>
                <a:lnTo>
                  <a:pt x="463" y="54"/>
                </a:lnTo>
                <a:lnTo>
                  <a:pt x="461" y="53"/>
                </a:lnTo>
                <a:lnTo>
                  <a:pt x="458" y="52"/>
                </a:lnTo>
                <a:lnTo>
                  <a:pt x="402" y="30"/>
                </a:lnTo>
                <a:lnTo>
                  <a:pt x="351" y="13"/>
                </a:lnTo>
                <a:lnTo>
                  <a:pt x="351" y="13"/>
                </a:lnTo>
                <a:lnTo>
                  <a:pt x="351" y="13"/>
                </a:lnTo>
                <a:lnTo>
                  <a:pt x="315" y="1"/>
                </a:lnTo>
                <a:lnTo>
                  <a:pt x="309" y="0"/>
                </a:lnTo>
                <a:lnTo>
                  <a:pt x="304" y="1"/>
                </a:lnTo>
                <a:lnTo>
                  <a:pt x="299" y="5"/>
                </a:lnTo>
                <a:lnTo>
                  <a:pt x="295" y="10"/>
                </a:lnTo>
                <a:lnTo>
                  <a:pt x="295" y="16"/>
                </a:lnTo>
                <a:lnTo>
                  <a:pt x="297" y="22"/>
                </a:lnTo>
                <a:lnTo>
                  <a:pt x="300" y="27"/>
                </a:lnTo>
                <a:lnTo>
                  <a:pt x="305" y="29"/>
                </a:lnTo>
                <a:lnTo>
                  <a:pt x="327" y="36"/>
                </a:lnTo>
                <a:lnTo>
                  <a:pt x="311" y="80"/>
                </a:lnTo>
                <a:lnTo>
                  <a:pt x="272" y="65"/>
                </a:lnTo>
                <a:lnTo>
                  <a:pt x="266" y="64"/>
                </a:lnTo>
                <a:lnTo>
                  <a:pt x="260" y="65"/>
                </a:lnTo>
                <a:lnTo>
                  <a:pt x="255" y="69"/>
                </a:lnTo>
                <a:lnTo>
                  <a:pt x="253" y="74"/>
                </a:lnTo>
                <a:lnTo>
                  <a:pt x="139" y="396"/>
                </a:lnTo>
                <a:lnTo>
                  <a:pt x="138" y="403"/>
                </a:lnTo>
                <a:lnTo>
                  <a:pt x="140" y="408"/>
                </a:lnTo>
                <a:lnTo>
                  <a:pt x="142" y="413"/>
                </a:lnTo>
                <a:lnTo>
                  <a:pt x="149" y="416"/>
                </a:lnTo>
                <a:lnTo>
                  <a:pt x="169" y="424"/>
                </a:lnTo>
                <a:lnTo>
                  <a:pt x="136" y="517"/>
                </a:lnTo>
                <a:lnTo>
                  <a:pt x="136" y="522"/>
                </a:lnTo>
                <a:lnTo>
                  <a:pt x="138" y="528"/>
                </a:lnTo>
                <a:lnTo>
                  <a:pt x="141" y="533"/>
                </a:lnTo>
                <a:lnTo>
                  <a:pt x="146" y="536"/>
                </a:lnTo>
                <a:lnTo>
                  <a:pt x="218" y="562"/>
                </a:lnTo>
                <a:lnTo>
                  <a:pt x="220" y="562"/>
                </a:lnTo>
                <a:lnTo>
                  <a:pt x="223" y="562"/>
                </a:lnTo>
                <a:lnTo>
                  <a:pt x="226" y="562"/>
                </a:lnTo>
                <a:lnTo>
                  <a:pt x="229" y="560"/>
                </a:lnTo>
                <a:lnTo>
                  <a:pt x="234" y="557"/>
                </a:lnTo>
                <a:lnTo>
                  <a:pt x="237" y="552"/>
                </a:lnTo>
                <a:lnTo>
                  <a:pt x="270" y="459"/>
                </a:lnTo>
                <a:lnTo>
                  <a:pt x="327" y="479"/>
                </a:lnTo>
                <a:lnTo>
                  <a:pt x="329" y="481"/>
                </a:lnTo>
                <a:lnTo>
                  <a:pt x="332" y="481"/>
                </a:lnTo>
                <a:lnTo>
                  <a:pt x="337" y="479"/>
                </a:lnTo>
                <a:lnTo>
                  <a:pt x="340" y="477"/>
                </a:lnTo>
                <a:lnTo>
                  <a:pt x="344" y="475"/>
                </a:lnTo>
                <a:lnTo>
                  <a:pt x="346" y="470"/>
                </a:lnTo>
                <a:lnTo>
                  <a:pt x="401" y="316"/>
                </a:lnTo>
                <a:lnTo>
                  <a:pt x="502" y="416"/>
                </a:lnTo>
                <a:lnTo>
                  <a:pt x="504" y="417"/>
                </a:lnTo>
                <a:lnTo>
                  <a:pt x="507" y="419"/>
                </a:lnTo>
                <a:lnTo>
                  <a:pt x="509" y="420"/>
                </a:lnTo>
                <a:lnTo>
                  <a:pt x="512" y="420"/>
                </a:lnTo>
                <a:lnTo>
                  <a:pt x="587" y="420"/>
                </a:lnTo>
                <a:lnTo>
                  <a:pt x="600" y="421"/>
                </a:lnTo>
                <a:lnTo>
                  <a:pt x="612" y="422"/>
                </a:lnTo>
                <a:lnTo>
                  <a:pt x="623" y="425"/>
                </a:lnTo>
                <a:lnTo>
                  <a:pt x="634" y="428"/>
                </a:lnTo>
                <a:lnTo>
                  <a:pt x="643" y="433"/>
                </a:lnTo>
                <a:lnTo>
                  <a:pt x="652" y="439"/>
                </a:lnTo>
                <a:lnTo>
                  <a:pt x="660" y="447"/>
                </a:lnTo>
                <a:lnTo>
                  <a:pt x="667" y="454"/>
                </a:lnTo>
                <a:lnTo>
                  <a:pt x="673" y="464"/>
                </a:lnTo>
                <a:lnTo>
                  <a:pt x="678" y="473"/>
                </a:lnTo>
                <a:lnTo>
                  <a:pt x="683" y="484"/>
                </a:lnTo>
                <a:lnTo>
                  <a:pt x="686" y="496"/>
                </a:lnTo>
                <a:lnTo>
                  <a:pt x="689" y="510"/>
                </a:lnTo>
                <a:lnTo>
                  <a:pt x="691" y="524"/>
                </a:lnTo>
                <a:lnTo>
                  <a:pt x="692" y="539"/>
                </a:lnTo>
                <a:lnTo>
                  <a:pt x="692" y="556"/>
                </a:lnTo>
                <a:lnTo>
                  <a:pt x="692" y="631"/>
                </a:lnTo>
                <a:lnTo>
                  <a:pt x="692" y="646"/>
                </a:lnTo>
                <a:lnTo>
                  <a:pt x="691" y="659"/>
                </a:lnTo>
                <a:lnTo>
                  <a:pt x="689" y="672"/>
                </a:lnTo>
                <a:lnTo>
                  <a:pt x="686" y="683"/>
                </a:lnTo>
                <a:lnTo>
                  <a:pt x="683" y="694"/>
                </a:lnTo>
                <a:lnTo>
                  <a:pt x="678" y="704"/>
                </a:lnTo>
                <a:lnTo>
                  <a:pt x="673" y="714"/>
                </a:lnTo>
                <a:lnTo>
                  <a:pt x="667" y="721"/>
                </a:lnTo>
                <a:lnTo>
                  <a:pt x="660" y="728"/>
                </a:lnTo>
                <a:lnTo>
                  <a:pt x="652" y="734"/>
                </a:lnTo>
                <a:lnTo>
                  <a:pt x="643" y="739"/>
                </a:lnTo>
                <a:lnTo>
                  <a:pt x="634" y="744"/>
                </a:lnTo>
                <a:lnTo>
                  <a:pt x="623" y="747"/>
                </a:lnTo>
                <a:lnTo>
                  <a:pt x="612" y="749"/>
                </a:lnTo>
                <a:lnTo>
                  <a:pt x="600" y="750"/>
                </a:lnTo>
                <a:lnTo>
                  <a:pt x="587" y="751"/>
                </a:lnTo>
                <a:lnTo>
                  <a:pt x="295" y="751"/>
                </a:lnTo>
                <a:lnTo>
                  <a:pt x="238" y="660"/>
                </a:lnTo>
                <a:lnTo>
                  <a:pt x="346" y="660"/>
                </a:lnTo>
                <a:lnTo>
                  <a:pt x="353" y="660"/>
                </a:lnTo>
                <a:lnTo>
                  <a:pt x="357" y="657"/>
                </a:lnTo>
                <a:lnTo>
                  <a:pt x="361" y="652"/>
                </a:lnTo>
                <a:lnTo>
                  <a:pt x="362" y="646"/>
                </a:lnTo>
                <a:lnTo>
                  <a:pt x="361" y="641"/>
                </a:lnTo>
                <a:lnTo>
                  <a:pt x="357" y="636"/>
                </a:lnTo>
                <a:lnTo>
                  <a:pt x="353" y="632"/>
                </a:lnTo>
                <a:lnTo>
                  <a:pt x="346" y="631"/>
                </a:lnTo>
                <a:lnTo>
                  <a:pt x="212" y="631"/>
                </a:lnTo>
                <a:lnTo>
                  <a:pt x="106" y="631"/>
                </a:lnTo>
                <a:lnTo>
                  <a:pt x="16" y="631"/>
                </a:lnTo>
                <a:lnTo>
                  <a:pt x="10" y="632"/>
                </a:lnTo>
                <a:lnTo>
                  <a:pt x="5" y="636"/>
                </a:lnTo>
                <a:lnTo>
                  <a:pt x="2" y="641"/>
                </a:lnTo>
                <a:lnTo>
                  <a:pt x="0" y="646"/>
                </a:lnTo>
                <a:lnTo>
                  <a:pt x="2" y="652"/>
                </a:lnTo>
                <a:lnTo>
                  <a:pt x="5" y="657"/>
                </a:lnTo>
                <a:lnTo>
                  <a:pt x="10" y="660"/>
                </a:lnTo>
                <a:lnTo>
                  <a:pt x="16" y="660"/>
                </a:lnTo>
                <a:lnTo>
                  <a:pt x="91" y="660"/>
                </a:lnTo>
                <a:lnTo>
                  <a:pt x="91" y="872"/>
                </a:lnTo>
                <a:lnTo>
                  <a:pt x="16" y="872"/>
                </a:lnTo>
                <a:lnTo>
                  <a:pt x="10" y="873"/>
                </a:lnTo>
                <a:lnTo>
                  <a:pt x="5" y="876"/>
                </a:lnTo>
                <a:lnTo>
                  <a:pt x="2" y="881"/>
                </a:lnTo>
                <a:lnTo>
                  <a:pt x="0" y="886"/>
                </a:lnTo>
                <a:lnTo>
                  <a:pt x="2" y="892"/>
                </a:lnTo>
                <a:lnTo>
                  <a:pt x="5" y="897"/>
                </a:lnTo>
                <a:lnTo>
                  <a:pt x="10" y="901"/>
                </a:lnTo>
                <a:lnTo>
                  <a:pt x="16" y="902"/>
                </a:lnTo>
                <a:lnTo>
                  <a:pt x="678" y="902"/>
                </a:lnTo>
                <a:lnTo>
                  <a:pt x="708" y="902"/>
                </a:lnTo>
                <a:lnTo>
                  <a:pt x="888" y="902"/>
                </a:lnTo>
                <a:lnTo>
                  <a:pt x="894" y="901"/>
                </a:lnTo>
                <a:lnTo>
                  <a:pt x="899" y="897"/>
                </a:lnTo>
                <a:lnTo>
                  <a:pt x="902" y="892"/>
                </a:lnTo>
                <a:lnTo>
                  <a:pt x="904" y="886"/>
                </a:lnTo>
                <a:lnTo>
                  <a:pt x="902" y="881"/>
                </a:lnTo>
                <a:lnTo>
                  <a:pt x="899" y="876"/>
                </a:lnTo>
                <a:lnTo>
                  <a:pt x="894" y="873"/>
                </a:lnTo>
                <a:lnTo>
                  <a:pt x="888" y="87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AA846BBB-AB01-4834-A974-E785E594B1FE}"/>
              </a:ext>
            </a:extLst>
          </p:cNvPr>
          <p:cNvGrpSpPr/>
          <p:nvPr/>
        </p:nvGrpSpPr>
        <p:grpSpPr>
          <a:xfrm>
            <a:off x="10722307" y="3549983"/>
            <a:ext cx="380335" cy="380335"/>
            <a:chOff x="1460463" y="779462"/>
            <a:chExt cx="285751" cy="285751"/>
          </a:xfrm>
          <a:solidFill>
            <a:schemeClr val="accent2"/>
          </a:solidFill>
        </p:grpSpPr>
        <p:sp>
          <p:nvSpPr>
            <p:cNvPr id="43" name="Freeform 2989">
              <a:extLst>
                <a:ext uri="{FF2B5EF4-FFF2-40B4-BE49-F238E27FC236}">
                  <a16:creationId xmlns:a16="http://schemas.microsoft.com/office/drawing/2014/main" id="{AA4858B0-E937-4E87-A201-EADB0605B4E6}"/>
                </a:ext>
              </a:extLst>
            </p:cNvPr>
            <p:cNvSpPr>
              <a:spLocks/>
            </p:cNvSpPr>
            <p:nvPr/>
          </p:nvSpPr>
          <p:spPr bwMode="auto">
            <a:xfrm>
              <a:off x="1643026" y="938212"/>
              <a:ext cx="46038" cy="46038"/>
            </a:xfrm>
            <a:custGeom>
              <a:avLst/>
              <a:gdLst>
                <a:gd name="T0" fmla="*/ 58 w 115"/>
                <a:gd name="T1" fmla="*/ 0 h 116"/>
                <a:gd name="T2" fmla="*/ 46 w 115"/>
                <a:gd name="T3" fmla="*/ 2 h 116"/>
                <a:gd name="T4" fmla="*/ 35 w 115"/>
                <a:gd name="T5" fmla="*/ 5 h 116"/>
                <a:gd name="T6" fmla="*/ 26 w 115"/>
                <a:gd name="T7" fmla="*/ 10 h 116"/>
                <a:gd name="T8" fmla="*/ 18 w 115"/>
                <a:gd name="T9" fmla="*/ 17 h 116"/>
                <a:gd name="T10" fmla="*/ 10 w 115"/>
                <a:gd name="T11" fmla="*/ 27 h 116"/>
                <a:gd name="T12" fmla="*/ 5 w 115"/>
                <a:gd name="T13" fmla="*/ 36 h 116"/>
                <a:gd name="T14" fmla="*/ 1 w 115"/>
                <a:gd name="T15" fmla="*/ 47 h 116"/>
                <a:gd name="T16" fmla="*/ 0 w 115"/>
                <a:gd name="T17" fmla="*/ 59 h 116"/>
                <a:gd name="T18" fmla="*/ 1 w 115"/>
                <a:gd name="T19" fmla="*/ 69 h 116"/>
                <a:gd name="T20" fmla="*/ 5 w 115"/>
                <a:gd name="T21" fmla="*/ 80 h 116"/>
                <a:gd name="T22" fmla="*/ 10 w 115"/>
                <a:gd name="T23" fmla="*/ 91 h 116"/>
                <a:gd name="T24" fmla="*/ 18 w 115"/>
                <a:gd name="T25" fmla="*/ 99 h 116"/>
                <a:gd name="T26" fmla="*/ 26 w 115"/>
                <a:gd name="T27" fmla="*/ 106 h 116"/>
                <a:gd name="T28" fmla="*/ 35 w 115"/>
                <a:gd name="T29" fmla="*/ 111 h 116"/>
                <a:gd name="T30" fmla="*/ 46 w 115"/>
                <a:gd name="T31" fmla="*/ 115 h 116"/>
                <a:gd name="T32" fmla="*/ 58 w 115"/>
                <a:gd name="T33" fmla="*/ 116 h 116"/>
                <a:gd name="T34" fmla="*/ 69 w 115"/>
                <a:gd name="T35" fmla="*/ 115 h 116"/>
                <a:gd name="T36" fmla="*/ 81 w 115"/>
                <a:gd name="T37" fmla="*/ 111 h 116"/>
                <a:gd name="T38" fmla="*/ 90 w 115"/>
                <a:gd name="T39" fmla="*/ 106 h 116"/>
                <a:gd name="T40" fmla="*/ 98 w 115"/>
                <a:gd name="T41" fmla="*/ 99 h 116"/>
                <a:gd name="T42" fmla="*/ 106 w 115"/>
                <a:gd name="T43" fmla="*/ 91 h 116"/>
                <a:gd name="T44" fmla="*/ 110 w 115"/>
                <a:gd name="T45" fmla="*/ 80 h 116"/>
                <a:gd name="T46" fmla="*/ 114 w 115"/>
                <a:gd name="T47" fmla="*/ 69 h 116"/>
                <a:gd name="T48" fmla="*/ 115 w 115"/>
                <a:gd name="T49" fmla="*/ 59 h 116"/>
                <a:gd name="T50" fmla="*/ 114 w 115"/>
                <a:gd name="T51" fmla="*/ 47 h 116"/>
                <a:gd name="T52" fmla="*/ 110 w 115"/>
                <a:gd name="T53" fmla="*/ 36 h 116"/>
                <a:gd name="T54" fmla="*/ 106 w 115"/>
                <a:gd name="T55" fmla="*/ 27 h 116"/>
                <a:gd name="T56" fmla="*/ 98 w 115"/>
                <a:gd name="T57" fmla="*/ 17 h 116"/>
                <a:gd name="T58" fmla="*/ 90 w 115"/>
                <a:gd name="T59" fmla="*/ 10 h 116"/>
                <a:gd name="T60" fmla="*/ 81 w 115"/>
                <a:gd name="T61" fmla="*/ 5 h 116"/>
                <a:gd name="T62" fmla="*/ 69 w 115"/>
                <a:gd name="T63" fmla="*/ 2 h 116"/>
                <a:gd name="T64" fmla="*/ 58 w 115"/>
                <a:gd name="T65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5" h="116">
                  <a:moveTo>
                    <a:pt x="58" y="0"/>
                  </a:moveTo>
                  <a:lnTo>
                    <a:pt x="46" y="2"/>
                  </a:lnTo>
                  <a:lnTo>
                    <a:pt x="35" y="5"/>
                  </a:lnTo>
                  <a:lnTo>
                    <a:pt x="26" y="10"/>
                  </a:lnTo>
                  <a:lnTo>
                    <a:pt x="18" y="17"/>
                  </a:lnTo>
                  <a:lnTo>
                    <a:pt x="10" y="27"/>
                  </a:lnTo>
                  <a:lnTo>
                    <a:pt x="5" y="36"/>
                  </a:lnTo>
                  <a:lnTo>
                    <a:pt x="1" y="47"/>
                  </a:lnTo>
                  <a:lnTo>
                    <a:pt x="0" y="59"/>
                  </a:lnTo>
                  <a:lnTo>
                    <a:pt x="1" y="69"/>
                  </a:lnTo>
                  <a:lnTo>
                    <a:pt x="5" y="80"/>
                  </a:lnTo>
                  <a:lnTo>
                    <a:pt x="10" y="91"/>
                  </a:lnTo>
                  <a:lnTo>
                    <a:pt x="18" y="99"/>
                  </a:lnTo>
                  <a:lnTo>
                    <a:pt x="26" y="106"/>
                  </a:lnTo>
                  <a:lnTo>
                    <a:pt x="35" y="111"/>
                  </a:lnTo>
                  <a:lnTo>
                    <a:pt x="46" y="115"/>
                  </a:lnTo>
                  <a:lnTo>
                    <a:pt x="58" y="116"/>
                  </a:lnTo>
                  <a:lnTo>
                    <a:pt x="69" y="115"/>
                  </a:lnTo>
                  <a:lnTo>
                    <a:pt x="81" y="111"/>
                  </a:lnTo>
                  <a:lnTo>
                    <a:pt x="90" y="106"/>
                  </a:lnTo>
                  <a:lnTo>
                    <a:pt x="98" y="99"/>
                  </a:lnTo>
                  <a:lnTo>
                    <a:pt x="106" y="91"/>
                  </a:lnTo>
                  <a:lnTo>
                    <a:pt x="110" y="80"/>
                  </a:lnTo>
                  <a:lnTo>
                    <a:pt x="114" y="69"/>
                  </a:lnTo>
                  <a:lnTo>
                    <a:pt x="115" y="59"/>
                  </a:lnTo>
                  <a:lnTo>
                    <a:pt x="114" y="47"/>
                  </a:lnTo>
                  <a:lnTo>
                    <a:pt x="110" y="36"/>
                  </a:lnTo>
                  <a:lnTo>
                    <a:pt x="106" y="27"/>
                  </a:lnTo>
                  <a:lnTo>
                    <a:pt x="98" y="17"/>
                  </a:lnTo>
                  <a:lnTo>
                    <a:pt x="90" y="10"/>
                  </a:lnTo>
                  <a:lnTo>
                    <a:pt x="81" y="5"/>
                  </a:lnTo>
                  <a:lnTo>
                    <a:pt x="69" y="2"/>
                  </a:lnTo>
                  <a:lnTo>
                    <a:pt x="5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2990">
              <a:extLst>
                <a:ext uri="{FF2B5EF4-FFF2-40B4-BE49-F238E27FC236}">
                  <a16:creationId xmlns:a16="http://schemas.microsoft.com/office/drawing/2014/main" id="{8F5CC098-04BF-4A1E-85EC-9049968BC3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9688" y="965200"/>
              <a:ext cx="23813" cy="23813"/>
            </a:xfrm>
            <a:custGeom>
              <a:avLst/>
              <a:gdLst>
                <a:gd name="T0" fmla="*/ 61 w 61"/>
                <a:gd name="T1" fmla="*/ 29 h 60"/>
                <a:gd name="T2" fmla="*/ 60 w 61"/>
                <a:gd name="T3" fmla="*/ 24 h 60"/>
                <a:gd name="T4" fmla="*/ 58 w 61"/>
                <a:gd name="T5" fmla="*/ 18 h 60"/>
                <a:gd name="T6" fmla="*/ 56 w 61"/>
                <a:gd name="T7" fmla="*/ 13 h 60"/>
                <a:gd name="T8" fmla="*/ 51 w 61"/>
                <a:gd name="T9" fmla="*/ 8 h 60"/>
                <a:gd name="T10" fmla="*/ 48 w 61"/>
                <a:gd name="T11" fmla="*/ 5 h 60"/>
                <a:gd name="T12" fmla="*/ 42 w 61"/>
                <a:gd name="T13" fmla="*/ 2 h 60"/>
                <a:gd name="T14" fmla="*/ 37 w 61"/>
                <a:gd name="T15" fmla="*/ 1 h 60"/>
                <a:gd name="T16" fmla="*/ 30 w 61"/>
                <a:gd name="T17" fmla="*/ 0 h 60"/>
                <a:gd name="T18" fmla="*/ 24 w 61"/>
                <a:gd name="T19" fmla="*/ 1 h 60"/>
                <a:gd name="T20" fmla="*/ 19 w 61"/>
                <a:gd name="T21" fmla="*/ 2 h 60"/>
                <a:gd name="T22" fmla="*/ 13 w 61"/>
                <a:gd name="T23" fmla="*/ 5 h 60"/>
                <a:gd name="T24" fmla="*/ 10 w 61"/>
                <a:gd name="T25" fmla="*/ 8 h 60"/>
                <a:gd name="T26" fmla="*/ 5 w 61"/>
                <a:gd name="T27" fmla="*/ 13 h 60"/>
                <a:gd name="T28" fmla="*/ 2 w 61"/>
                <a:gd name="T29" fmla="*/ 18 h 60"/>
                <a:gd name="T30" fmla="*/ 1 w 61"/>
                <a:gd name="T31" fmla="*/ 24 h 60"/>
                <a:gd name="T32" fmla="*/ 0 w 61"/>
                <a:gd name="T33" fmla="*/ 29 h 60"/>
                <a:gd name="T34" fmla="*/ 1 w 61"/>
                <a:gd name="T35" fmla="*/ 35 h 60"/>
                <a:gd name="T36" fmla="*/ 2 w 61"/>
                <a:gd name="T37" fmla="*/ 41 h 60"/>
                <a:gd name="T38" fmla="*/ 5 w 61"/>
                <a:gd name="T39" fmla="*/ 47 h 60"/>
                <a:gd name="T40" fmla="*/ 10 w 61"/>
                <a:gd name="T41" fmla="*/ 51 h 60"/>
                <a:gd name="T42" fmla="*/ 13 w 61"/>
                <a:gd name="T43" fmla="*/ 54 h 60"/>
                <a:gd name="T44" fmla="*/ 19 w 61"/>
                <a:gd name="T45" fmla="*/ 58 h 60"/>
                <a:gd name="T46" fmla="*/ 24 w 61"/>
                <a:gd name="T47" fmla="*/ 59 h 60"/>
                <a:gd name="T48" fmla="*/ 30 w 61"/>
                <a:gd name="T49" fmla="*/ 60 h 60"/>
                <a:gd name="T50" fmla="*/ 37 w 61"/>
                <a:gd name="T51" fmla="*/ 59 h 60"/>
                <a:gd name="T52" fmla="*/ 42 w 61"/>
                <a:gd name="T53" fmla="*/ 58 h 60"/>
                <a:gd name="T54" fmla="*/ 48 w 61"/>
                <a:gd name="T55" fmla="*/ 54 h 60"/>
                <a:gd name="T56" fmla="*/ 51 w 61"/>
                <a:gd name="T57" fmla="*/ 51 h 60"/>
                <a:gd name="T58" fmla="*/ 56 w 61"/>
                <a:gd name="T59" fmla="*/ 47 h 60"/>
                <a:gd name="T60" fmla="*/ 58 w 61"/>
                <a:gd name="T61" fmla="*/ 41 h 60"/>
                <a:gd name="T62" fmla="*/ 60 w 61"/>
                <a:gd name="T63" fmla="*/ 35 h 60"/>
                <a:gd name="T64" fmla="*/ 61 w 61"/>
                <a:gd name="T65" fmla="*/ 29 h 60"/>
                <a:gd name="T66" fmla="*/ 61 w 61"/>
                <a:gd name="T67" fmla="*/ 29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1" h="60">
                  <a:moveTo>
                    <a:pt x="61" y="29"/>
                  </a:moveTo>
                  <a:lnTo>
                    <a:pt x="60" y="24"/>
                  </a:lnTo>
                  <a:lnTo>
                    <a:pt x="58" y="18"/>
                  </a:lnTo>
                  <a:lnTo>
                    <a:pt x="56" y="13"/>
                  </a:lnTo>
                  <a:lnTo>
                    <a:pt x="51" y="8"/>
                  </a:lnTo>
                  <a:lnTo>
                    <a:pt x="48" y="5"/>
                  </a:lnTo>
                  <a:lnTo>
                    <a:pt x="42" y="2"/>
                  </a:lnTo>
                  <a:lnTo>
                    <a:pt x="37" y="1"/>
                  </a:lnTo>
                  <a:lnTo>
                    <a:pt x="30" y="0"/>
                  </a:lnTo>
                  <a:lnTo>
                    <a:pt x="24" y="1"/>
                  </a:lnTo>
                  <a:lnTo>
                    <a:pt x="19" y="2"/>
                  </a:lnTo>
                  <a:lnTo>
                    <a:pt x="13" y="5"/>
                  </a:lnTo>
                  <a:lnTo>
                    <a:pt x="10" y="8"/>
                  </a:lnTo>
                  <a:lnTo>
                    <a:pt x="5" y="13"/>
                  </a:lnTo>
                  <a:lnTo>
                    <a:pt x="2" y="18"/>
                  </a:lnTo>
                  <a:lnTo>
                    <a:pt x="1" y="24"/>
                  </a:lnTo>
                  <a:lnTo>
                    <a:pt x="0" y="29"/>
                  </a:lnTo>
                  <a:lnTo>
                    <a:pt x="1" y="35"/>
                  </a:lnTo>
                  <a:lnTo>
                    <a:pt x="2" y="41"/>
                  </a:lnTo>
                  <a:lnTo>
                    <a:pt x="5" y="47"/>
                  </a:lnTo>
                  <a:lnTo>
                    <a:pt x="10" y="51"/>
                  </a:lnTo>
                  <a:lnTo>
                    <a:pt x="13" y="54"/>
                  </a:lnTo>
                  <a:lnTo>
                    <a:pt x="19" y="58"/>
                  </a:lnTo>
                  <a:lnTo>
                    <a:pt x="24" y="59"/>
                  </a:lnTo>
                  <a:lnTo>
                    <a:pt x="30" y="60"/>
                  </a:lnTo>
                  <a:lnTo>
                    <a:pt x="37" y="59"/>
                  </a:lnTo>
                  <a:lnTo>
                    <a:pt x="42" y="58"/>
                  </a:lnTo>
                  <a:lnTo>
                    <a:pt x="48" y="54"/>
                  </a:lnTo>
                  <a:lnTo>
                    <a:pt x="51" y="51"/>
                  </a:lnTo>
                  <a:lnTo>
                    <a:pt x="56" y="47"/>
                  </a:lnTo>
                  <a:lnTo>
                    <a:pt x="58" y="41"/>
                  </a:lnTo>
                  <a:lnTo>
                    <a:pt x="60" y="35"/>
                  </a:lnTo>
                  <a:lnTo>
                    <a:pt x="61" y="29"/>
                  </a:lnTo>
                  <a:lnTo>
                    <a:pt x="61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2991">
              <a:extLst>
                <a:ext uri="{FF2B5EF4-FFF2-40B4-BE49-F238E27FC236}">
                  <a16:creationId xmlns:a16="http://schemas.microsoft.com/office/drawing/2014/main" id="{9D5F01CB-07DF-43AE-A685-B63D2311F1F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57301" y="779462"/>
              <a:ext cx="188913" cy="147638"/>
            </a:xfrm>
            <a:custGeom>
              <a:avLst/>
              <a:gdLst>
                <a:gd name="T0" fmla="*/ 326 w 476"/>
                <a:gd name="T1" fmla="*/ 203 h 371"/>
                <a:gd name="T2" fmla="*/ 313 w 476"/>
                <a:gd name="T3" fmla="*/ 184 h 371"/>
                <a:gd name="T4" fmla="*/ 318 w 476"/>
                <a:gd name="T5" fmla="*/ 161 h 371"/>
                <a:gd name="T6" fmla="*/ 337 w 476"/>
                <a:gd name="T7" fmla="*/ 148 h 371"/>
                <a:gd name="T8" fmla="*/ 359 w 476"/>
                <a:gd name="T9" fmla="*/ 153 h 371"/>
                <a:gd name="T10" fmla="*/ 373 w 476"/>
                <a:gd name="T11" fmla="*/ 172 h 371"/>
                <a:gd name="T12" fmla="*/ 368 w 476"/>
                <a:gd name="T13" fmla="*/ 195 h 371"/>
                <a:gd name="T14" fmla="*/ 349 w 476"/>
                <a:gd name="T15" fmla="*/ 208 h 371"/>
                <a:gd name="T16" fmla="*/ 241 w 476"/>
                <a:gd name="T17" fmla="*/ 205 h 371"/>
                <a:gd name="T18" fmla="*/ 224 w 476"/>
                <a:gd name="T19" fmla="*/ 190 h 371"/>
                <a:gd name="T20" fmla="*/ 224 w 476"/>
                <a:gd name="T21" fmla="*/ 166 h 371"/>
                <a:gd name="T22" fmla="*/ 241 w 476"/>
                <a:gd name="T23" fmla="*/ 150 h 371"/>
                <a:gd name="T24" fmla="*/ 264 w 476"/>
                <a:gd name="T25" fmla="*/ 150 h 371"/>
                <a:gd name="T26" fmla="*/ 280 w 476"/>
                <a:gd name="T27" fmla="*/ 166 h 371"/>
                <a:gd name="T28" fmla="*/ 280 w 476"/>
                <a:gd name="T29" fmla="*/ 190 h 371"/>
                <a:gd name="T30" fmla="*/ 264 w 476"/>
                <a:gd name="T31" fmla="*/ 205 h 371"/>
                <a:gd name="T32" fmla="*/ 155 w 476"/>
                <a:gd name="T33" fmla="*/ 208 h 371"/>
                <a:gd name="T34" fmla="*/ 136 w 476"/>
                <a:gd name="T35" fmla="*/ 195 h 371"/>
                <a:gd name="T36" fmla="*/ 132 w 476"/>
                <a:gd name="T37" fmla="*/ 172 h 371"/>
                <a:gd name="T38" fmla="*/ 144 w 476"/>
                <a:gd name="T39" fmla="*/ 153 h 371"/>
                <a:gd name="T40" fmla="*/ 168 w 476"/>
                <a:gd name="T41" fmla="*/ 148 h 371"/>
                <a:gd name="T42" fmla="*/ 187 w 476"/>
                <a:gd name="T43" fmla="*/ 161 h 371"/>
                <a:gd name="T44" fmla="*/ 191 w 476"/>
                <a:gd name="T45" fmla="*/ 184 h 371"/>
                <a:gd name="T46" fmla="*/ 179 w 476"/>
                <a:gd name="T47" fmla="*/ 203 h 371"/>
                <a:gd name="T48" fmla="*/ 310 w 476"/>
                <a:gd name="T49" fmla="*/ 0 h 371"/>
                <a:gd name="T50" fmla="*/ 254 w 476"/>
                <a:gd name="T51" fmla="*/ 10 h 371"/>
                <a:gd name="T52" fmla="*/ 205 w 476"/>
                <a:gd name="T53" fmla="*/ 42 h 371"/>
                <a:gd name="T54" fmla="*/ 139 w 476"/>
                <a:gd name="T55" fmla="*/ 28 h 371"/>
                <a:gd name="T56" fmla="*/ 99 w 476"/>
                <a:gd name="T57" fmla="*/ 35 h 371"/>
                <a:gd name="T58" fmla="*/ 62 w 476"/>
                <a:gd name="T59" fmla="*/ 54 h 371"/>
                <a:gd name="T60" fmla="*/ 32 w 476"/>
                <a:gd name="T61" fmla="*/ 87 h 371"/>
                <a:gd name="T62" fmla="*/ 11 w 476"/>
                <a:gd name="T63" fmla="*/ 127 h 371"/>
                <a:gd name="T64" fmla="*/ 0 w 476"/>
                <a:gd name="T65" fmla="*/ 188 h 371"/>
                <a:gd name="T66" fmla="*/ 31 w 476"/>
                <a:gd name="T67" fmla="*/ 189 h 371"/>
                <a:gd name="T68" fmla="*/ 73 w 476"/>
                <a:gd name="T69" fmla="*/ 198 h 371"/>
                <a:gd name="T70" fmla="*/ 105 w 476"/>
                <a:gd name="T71" fmla="*/ 217 h 371"/>
                <a:gd name="T72" fmla="*/ 126 w 476"/>
                <a:gd name="T73" fmla="*/ 244 h 371"/>
                <a:gd name="T74" fmla="*/ 135 w 476"/>
                <a:gd name="T75" fmla="*/ 289 h 371"/>
                <a:gd name="T76" fmla="*/ 154 w 476"/>
                <a:gd name="T77" fmla="*/ 324 h 371"/>
                <a:gd name="T78" fmla="*/ 188 w 476"/>
                <a:gd name="T79" fmla="*/ 359 h 371"/>
                <a:gd name="T80" fmla="*/ 237 w 476"/>
                <a:gd name="T81" fmla="*/ 371 h 371"/>
                <a:gd name="T82" fmla="*/ 281 w 476"/>
                <a:gd name="T83" fmla="*/ 359 h 371"/>
                <a:gd name="T84" fmla="*/ 319 w 476"/>
                <a:gd name="T85" fmla="*/ 326 h 371"/>
                <a:gd name="T86" fmla="*/ 384 w 476"/>
                <a:gd name="T87" fmla="*/ 313 h 371"/>
                <a:gd name="T88" fmla="*/ 436 w 476"/>
                <a:gd name="T89" fmla="*/ 277 h 371"/>
                <a:gd name="T90" fmla="*/ 465 w 476"/>
                <a:gd name="T91" fmla="*/ 228 h 371"/>
                <a:gd name="T92" fmla="*/ 476 w 476"/>
                <a:gd name="T93" fmla="*/ 169 h 371"/>
                <a:gd name="T94" fmla="*/ 465 w 476"/>
                <a:gd name="T95" fmla="*/ 108 h 371"/>
                <a:gd name="T96" fmla="*/ 433 w 476"/>
                <a:gd name="T97" fmla="*/ 53 h 371"/>
                <a:gd name="T98" fmla="*/ 381 w 476"/>
                <a:gd name="T99" fmla="*/ 15 h 371"/>
                <a:gd name="T100" fmla="*/ 310 w 476"/>
                <a:gd name="T101" fmla="*/ 0 h 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76" h="371">
                  <a:moveTo>
                    <a:pt x="343" y="208"/>
                  </a:moveTo>
                  <a:lnTo>
                    <a:pt x="337" y="208"/>
                  </a:lnTo>
                  <a:lnTo>
                    <a:pt x="331" y="205"/>
                  </a:lnTo>
                  <a:lnTo>
                    <a:pt x="326" y="203"/>
                  </a:lnTo>
                  <a:lnTo>
                    <a:pt x="321" y="200"/>
                  </a:lnTo>
                  <a:lnTo>
                    <a:pt x="318" y="195"/>
                  </a:lnTo>
                  <a:lnTo>
                    <a:pt x="314" y="190"/>
                  </a:lnTo>
                  <a:lnTo>
                    <a:pt x="313" y="184"/>
                  </a:lnTo>
                  <a:lnTo>
                    <a:pt x="312" y="178"/>
                  </a:lnTo>
                  <a:lnTo>
                    <a:pt x="313" y="172"/>
                  </a:lnTo>
                  <a:lnTo>
                    <a:pt x="314" y="166"/>
                  </a:lnTo>
                  <a:lnTo>
                    <a:pt x="318" y="161"/>
                  </a:lnTo>
                  <a:lnTo>
                    <a:pt x="321" y="157"/>
                  </a:lnTo>
                  <a:lnTo>
                    <a:pt x="326" y="153"/>
                  </a:lnTo>
                  <a:lnTo>
                    <a:pt x="331" y="150"/>
                  </a:lnTo>
                  <a:lnTo>
                    <a:pt x="337" y="148"/>
                  </a:lnTo>
                  <a:lnTo>
                    <a:pt x="343" y="147"/>
                  </a:lnTo>
                  <a:lnTo>
                    <a:pt x="349" y="148"/>
                  </a:lnTo>
                  <a:lnTo>
                    <a:pt x="355" y="150"/>
                  </a:lnTo>
                  <a:lnTo>
                    <a:pt x="359" y="153"/>
                  </a:lnTo>
                  <a:lnTo>
                    <a:pt x="364" y="157"/>
                  </a:lnTo>
                  <a:lnTo>
                    <a:pt x="368" y="161"/>
                  </a:lnTo>
                  <a:lnTo>
                    <a:pt x="370" y="166"/>
                  </a:lnTo>
                  <a:lnTo>
                    <a:pt x="373" y="172"/>
                  </a:lnTo>
                  <a:lnTo>
                    <a:pt x="373" y="178"/>
                  </a:lnTo>
                  <a:lnTo>
                    <a:pt x="373" y="184"/>
                  </a:lnTo>
                  <a:lnTo>
                    <a:pt x="370" y="190"/>
                  </a:lnTo>
                  <a:lnTo>
                    <a:pt x="368" y="195"/>
                  </a:lnTo>
                  <a:lnTo>
                    <a:pt x="364" y="200"/>
                  </a:lnTo>
                  <a:lnTo>
                    <a:pt x="359" y="203"/>
                  </a:lnTo>
                  <a:lnTo>
                    <a:pt x="355" y="205"/>
                  </a:lnTo>
                  <a:lnTo>
                    <a:pt x="349" y="208"/>
                  </a:lnTo>
                  <a:lnTo>
                    <a:pt x="343" y="208"/>
                  </a:lnTo>
                  <a:close/>
                  <a:moveTo>
                    <a:pt x="252" y="208"/>
                  </a:moveTo>
                  <a:lnTo>
                    <a:pt x="246" y="208"/>
                  </a:lnTo>
                  <a:lnTo>
                    <a:pt x="241" y="205"/>
                  </a:lnTo>
                  <a:lnTo>
                    <a:pt x="235" y="203"/>
                  </a:lnTo>
                  <a:lnTo>
                    <a:pt x="231" y="200"/>
                  </a:lnTo>
                  <a:lnTo>
                    <a:pt x="227" y="195"/>
                  </a:lnTo>
                  <a:lnTo>
                    <a:pt x="224" y="190"/>
                  </a:lnTo>
                  <a:lnTo>
                    <a:pt x="223" y="184"/>
                  </a:lnTo>
                  <a:lnTo>
                    <a:pt x="222" y="178"/>
                  </a:lnTo>
                  <a:lnTo>
                    <a:pt x="223" y="172"/>
                  </a:lnTo>
                  <a:lnTo>
                    <a:pt x="224" y="166"/>
                  </a:lnTo>
                  <a:lnTo>
                    <a:pt x="227" y="161"/>
                  </a:lnTo>
                  <a:lnTo>
                    <a:pt x="231" y="157"/>
                  </a:lnTo>
                  <a:lnTo>
                    <a:pt x="235" y="153"/>
                  </a:lnTo>
                  <a:lnTo>
                    <a:pt x="241" y="150"/>
                  </a:lnTo>
                  <a:lnTo>
                    <a:pt x="246" y="148"/>
                  </a:lnTo>
                  <a:lnTo>
                    <a:pt x="252" y="147"/>
                  </a:lnTo>
                  <a:lnTo>
                    <a:pt x="258" y="148"/>
                  </a:lnTo>
                  <a:lnTo>
                    <a:pt x="264" y="150"/>
                  </a:lnTo>
                  <a:lnTo>
                    <a:pt x="269" y="153"/>
                  </a:lnTo>
                  <a:lnTo>
                    <a:pt x="274" y="157"/>
                  </a:lnTo>
                  <a:lnTo>
                    <a:pt x="277" y="161"/>
                  </a:lnTo>
                  <a:lnTo>
                    <a:pt x="280" y="166"/>
                  </a:lnTo>
                  <a:lnTo>
                    <a:pt x="282" y="172"/>
                  </a:lnTo>
                  <a:lnTo>
                    <a:pt x="282" y="178"/>
                  </a:lnTo>
                  <a:lnTo>
                    <a:pt x="282" y="184"/>
                  </a:lnTo>
                  <a:lnTo>
                    <a:pt x="280" y="190"/>
                  </a:lnTo>
                  <a:lnTo>
                    <a:pt x="277" y="195"/>
                  </a:lnTo>
                  <a:lnTo>
                    <a:pt x="274" y="200"/>
                  </a:lnTo>
                  <a:lnTo>
                    <a:pt x="269" y="203"/>
                  </a:lnTo>
                  <a:lnTo>
                    <a:pt x="264" y="205"/>
                  </a:lnTo>
                  <a:lnTo>
                    <a:pt x="258" y="208"/>
                  </a:lnTo>
                  <a:lnTo>
                    <a:pt x="252" y="208"/>
                  </a:lnTo>
                  <a:close/>
                  <a:moveTo>
                    <a:pt x="161" y="208"/>
                  </a:moveTo>
                  <a:lnTo>
                    <a:pt x="155" y="208"/>
                  </a:lnTo>
                  <a:lnTo>
                    <a:pt x="150" y="205"/>
                  </a:lnTo>
                  <a:lnTo>
                    <a:pt x="144" y="203"/>
                  </a:lnTo>
                  <a:lnTo>
                    <a:pt x="141" y="200"/>
                  </a:lnTo>
                  <a:lnTo>
                    <a:pt x="136" y="195"/>
                  </a:lnTo>
                  <a:lnTo>
                    <a:pt x="133" y="190"/>
                  </a:lnTo>
                  <a:lnTo>
                    <a:pt x="132" y="184"/>
                  </a:lnTo>
                  <a:lnTo>
                    <a:pt x="131" y="178"/>
                  </a:lnTo>
                  <a:lnTo>
                    <a:pt x="132" y="172"/>
                  </a:lnTo>
                  <a:lnTo>
                    <a:pt x="133" y="166"/>
                  </a:lnTo>
                  <a:lnTo>
                    <a:pt x="136" y="161"/>
                  </a:lnTo>
                  <a:lnTo>
                    <a:pt x="141" y="157"/>
                  </a:lnTo>
                  <a:lnTo>
                    <a:pt x="144" y="153"/>
                  </a:lnTo>
                  <a:lnTo>
                    <a:pt x="150" y="150"/>
                  </a:lnTo>
                  <a:lnTo>
                    <a:pt x="155" y="148"/>
                  </a:lnTo>
                  <a:lnTo>
                    <a:pt x="161" y="147"/>
                  </a:lnTo>
                  <a:lnTo>
                    <a:pt x="168" y="148"/>
                  </a:lnTo>
                  <a:lnTo>
                    <a:pt x="173" y="150"/>
                  </a:lnTo>
                  <a:lnTo>
                    <a:pt x="179" y="153"/>
                  </a:lnTo>
                  <a:lnTo>
                    <a:pt x="182" y="157"/>
                  </a:lnTo>
                  <a:lnTo>
                    <a:pt x="187" y="161"/>
                  </a:lnTo>
                  <a:lnTo>
                    <a:pt x="189" y="166"/>
                  </a:lnTo>
                  <a:lnTo>
                    <a:pt x="191" y="172"/>
                  </a:lnTo>
                  <a:lnTo>
                    <a:pt x="192" y="178"/>
                  </a:lnTo>
                  <a:lnTo>
                    <a:pt x="191" y="184"/>
                  </a:lnTo>
                  <a:lnTo>
                    <a:pt x="189" y="190"/>
                  </a:lnTo>
                  <a:lnTo>
                    <a:pt x="187" y="195"/>
                  </a:lnTo>
                  <a:lnTo>
                    <a:pt x="182" y="200"/>
                  </a:lnTo>
                  <a:lnTo>
                    <a:pt x="179" y="203"/>
                  </a:lnTo>
                  <a:lnTo>
                    <a:pt x="173" y="205"/>
                  </a:lnTo>
                  <a:lnTo>
                    <a:pt x="168" y="208"/>
                  </a:lnTo>
                  <a:lnTo>
                    <a:pt x="161" y="208"/>
                  </a:lnTo>
                  <a:close/>
                  <a:moveTo>
                    <a:pt x="310" y="0"/>
                  </a:moveTo>
                  <a:lnTo>
                    <a:pt x="294" y="1"/>
                  </a:lnTo>
                  <a:lnTo>
                    <a:pt x="280" y="2"/>
                  </a:lnTo>
                  <a:lnTo>
                    <a:pt x="267" y="6"/>
                  </a:lnTo>
                  <a:lnTo>
                    <a:pt x="254" y="10"/>
                  </a:lnTo>
                  <a:lnTo>
                    <a:pt x="241" y="16"/>
                  </a:lnTo>
                  <a:lnTo>
                    <a:pt x="227" y="23"/>
                  </a:lnTo>
                  <a:lnTo>
                    <a:pt x="216" y="32"/>
                  </a:lnTo>
                  <a:lnTo>
                    <a:pt x="205" y="42"/>
                  </a:lnTo>
                  <a:lnTo>
                    <a:pt x="188" y="37"/>
                  </a:lnTo>
                  <a:lnTo>
                    <a:pt x="172" y="32"/>
                  </a:lnTo>
                  <a:lnTo>
                    <a:pt x="156" y="28"/>
                  </a:lnTo>
                  <a:lnTo>
                    <a:pt x="139" y="28"/>
                  </a:lnTo>
                  <a:lnTo>
                    <a:pt x="130" y="28"/>
                  </a:lnTo>
                  <a:lnTo>
                    <a:pt x="119" y="29"/>
                  </a:lnTo>
                  <a:lnTo>
                    <a:pt x="108" y="32"/>
                  </a:lnTo>
                  <a:lnTo>
                    <a:pt x="99" y="35"/>
                  </a:lnTo>
                  <a:lnTo>
                    <a:pt x="89" y="39"/>
                  </a:lnTo>
                  <a:lnTo>
                    <a:pt x="80" y="44"/>
                  </a:lnTo>
                  <a:lnTo>
                    <a:pt x="70" y="48"/>
                  </a:lnTo>
                  <a:lnTo>
                    <a:pt x="62" y="54"/>
                  </a:lnTo>
                  <a:lnTo>
                    <a:pt x="54" y="62"/>
                  </a:lnTo>
                  <a:lnTo>
                    <a:pt x="45" y="69"/>
                  </a:lnTo>
                  <a:lnTo>
                    <a:pt x="38" y="77"/>
                  </a:lnTo>
                  <a:lnTo>
                    <a:pt x="32" y="87"/>
                  </a:lnTo>
                  <a:lnTo>
                    <a:pt x="25" y="95"/>
                  </a:lnTo>
                  <a:lnTo>
                    <a:pt x="20" y="106"/>
                  </a:lnTo>
                  <a:lnTo>
                    <a:pt x="15" y="116"/>
                  </a:lnTo>
                  <a:lnTo>
                    <a:pt x="11" y="127"/>
                  </a:lnTo>
                  <a:lnTo>
                    <a:pt x="5" y="142"/>
                  </a:lnTo>
                  <a:lnTo>
                    <a:pt x="3" y="158"/>
                  </a:lnTo>
                  <a:lnTo>
                    <a:pt x="0" y="172"/>
                  </a:lnTo>
                  <a:lnTo>
                    <a:pt x="0" y="188"/>
                  </a:lnTo>
                  <a:lnTo>
                    <a:pt x="4" y="188"/>
                  </a:lnTo>
                  <a:lnTo>
                    <a:pt x="7" y="188"/>
                  </a:lnTo>
                  <a:lnTo>
                    <a:pt x="19" y="188"/>
                  </a:lnTo>
                  <a:lnTo>
                    <a:pt x="31" y="189"/>
                  </a:lnTo>
                  <a:lnTo>
                    <a:pt x="42" y="190"/>
                  </a:lnTo>
                  <a:lnTo>
                    <a:pt x="53" y="192"/>
                  </a:lnTo>
                  <a:lnTo>
                    <a:pt x="62" y="195"/>
                  </a:lnTo>
                  <a:lnTo>
                    <a:pt x="73" y="198"/>
                  </a:lnTo>
                  <a:lnTo>
                    <a:pt x="81" y="202"/>
                  </a:lnTo>
                  <a:lnTo>
                    <a:pt x="89" y="207"/>
                  </a:lnTo>
                  <a:lnTo>
                    <a:pt x="98" y="211"/>
                  </a:lnTo>
                  <a:lnTo>
                    <a:pt x="105" y="217"/>
                  </a:lnTo>
                  <a:lnTo>
                    <a:pt x="111" y="223"/>
                  </a:lnTo>
                  <a:lnTo>
                    <a:pt x="117" y="229"/>
                  </a:lnTo>
                  <a:lnTo>
                    <a:pt x="122" y="236"/>
                  </a:lnTo>
                  <a:lnTo>
                    <a:pt x="126" y="244"/>
                  </a:lnTo>
                  <a:lnTo>
                    <a:pt x="130" y="252"/>
                  </a:lnTo>
                  <a:lnTo>
                    <a:pt x="132" y="260"/>
                  </a:lnTo>
                  <a:lnTo>
                    <a:pt x="135" y="274"/>
                  </a:lnTo>
                  <a:lnTo>
                    <a:pt x="135" y="289"/>
                  </a:lnTo>
                  <a:lnTo>
                    <a:pt x="133" y="304"/>
                  </a:lnTo>
                  <a:lnTo>
                    <a:pt x="130" y="320"/>
                  </a:lnTo>
                  <a:lnTo>
                    <a:pt x="144" y="323"/>
                  </a:lnTo>
                  <a:lnTo>
                    <a:pt x="154" y="324"/>
                  </a:lnTo>
                  <a:lnTo>
                    <a:pt x="161" y="335"/>
                  </a:lnTo>
                  <a:lnTo>
                    <a:pt x="169" y="343"/>
                  </a:lnTo>
                  <a:lnTo>
                    <a:pt x="179" y="352"/>
                  </a:lnTo>
                  <a:lnTo>
                    <a:pt x="188" y="359"/>
                  </a:lnTo>
                  <a:lnTo>
                    <a:pt x="200" y="364"/>
                  </a:lnTo>
                  <a:lnTo>
                    <a:pt x="212" y="367"/>
                  </a:lnTo>
                  <a:lnTo>
                    <a:pt x="224" y="370"/>
                  </a:lnTo>
                  <a:lnTo>
                    <a:pt x="237" y="371"/>
                  </a:lnTo>
                  <a:lnTo>
                    <a:pt x="248" y="370"/>
                  </a:lnTo>
                  <a:lnTo>
                    <a:pt x="260" y="368"/>
                  </a:lnTo>
                  <a:lnTo>
                    <a:pt x="270" y="364"/>
                  </a:lnTo>
                  <a:lnTo>
                    <a:pt x="281" y="359"/>
                  </a:lnTo>
                  <a:lnTo>
                    <a:pt x="292" y="353"/>
                  </a:lnTo>
                  <a:lnTo>
                    <a:pt x="301" y="345"/>
                  </a:lnTo>
                  <a:lnTo>
                    <a:pt x="311" y="336"/>
                  </a:lnTo>
                  <a:lnTo>
                    <a:pt x="319" y="326"/>
                  </a:lnTo>
                  <a:lnTo>
                    <a:pt x="337" y="324"/>
                  </a:lnTo>
                  <a:lnTo>
                    <a:pt x="354" y="322"/>
                  </a:lnTo>
                  <a:lnTo>
                    <a:pt x="369" y="317"/>
                  </a:lnTo>
                  <a:lnTo>
                    <a:pt x="384" y="313"/>
                  </a:lnTo>
                  <a:lnTo>
                    <a:pt x="399" y="305"/>
                  </a:lnTo>
                  <a:lnTo>
                    <a:pt x="412" y="297"/>
                  </a:lnTo>
                  <a:lnTo>
                    <a:pt x="424" y="288"/>
                  </a:lnTo>
                  <a:lnTo>
                    <a:pt x="436" y="277"/>
                  </a:lnTo>
                  <a:lnTo>
                    <a:pt x="445" y="266"/>
                  </a:lnTo>
                  <a:lnTo>
                    <a:pt x="452" y="254"/>
                  </a:lnTo>
                  <a:lnTo>
                    <a:pt x="459" y="241"/>
                  </a:lnTo>
                  <a:lnTo>
                    <a:pt x="465" y="228"/>
                  </a:lnTo>
                  <a:lnTo>
                    <a:pt x="470" y="214"/>
                  </a:lnTo>
                  <a:lnTo>
                    <a:pt x="472" y="200"/>
                  </a:lnTo>
                  <a:lnTo>
                    <a:pt x="475" y="184"/>
                  </a:lnTo>
                  <a:lnTo>
                    <a:pt x="476" y="169"/>
                  </a:lnTo>
                  <a:lnTo>
                    <a:pt x="475" y="153"/>
                  </a:lnTo>
                  <a:lnTo>
                    <a:pt x="472" y="138"/>
                  </a:lnTo>
                  <a:lnTo>
                    <a:pt x="470" y="122"/>
                  </a:lnTo>
                  <a:lnTo>
                    <a:pt x="465" y="108"/>
                  </a:lnTo>
                  <a:lnTo>
                    <a:pt x="458" y="94"/>
                  </a:lnTo>
                  <a:lnTo>
                    <a:pt x="451" y="79"/>
                  </a:lnTo>
                  <a:lnTo>
                    <a:pt x="443" y="66"/>
                  </a:lnTo>
                  <a:lnTo>
                    <a:pt x="433" y="53"/>
                  </a:lnTo>
                  <a:lnTo>
                    <a:pt x="421" y="42"/>
                  </a:lnTo>
                  <a:lnTo>
                    <a:pt x="409" y="32"/>
                  </a:lnTo>
                  <a:lnTo>
                    <a:pt x="396" y="22"/>
                  </a:lnTo>
                  <a:lnTo>
                    <a:pt x="381" y="15"/>
                  </a:lnTo>
                  <a:lnTo>
                    <a:pt x="364" y="8"/>
                  </a:lnTo>
                  <a:lnTo>
                    <a:pt x="348" y="3"/>
                  </a:lnTo>
                  <a:lnTo>
                    <a:pt x="329" y="1"/>
                  </a:lnTo>
                  <a:lnTo>
                    <a:pt x="31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2992">
              <a:extLst>
                <a:ext uri="{FF2B5EF4-FFF2-40B4-BE49-F238E27FC236}">
                  <a16:creationId xmlns:a16="http://schemas.microsoft.com/office/drawing/2014/main" id="{7BD6A2B4-36B6-4EA6-BB17-05AC59CC80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60463" y="863600"/>
              <a:ext cx="190500" cy="201613"/>
            </a:xfrm>
            <a:custGeom>
              <a:avLst/>
              <a:gdLst>
                <a:gd name="T0" fmla="*/ 393 w 480"/>
                <a:gd name="T1" fmla="*/ 357 h 507"/>
                <a:gd name="T2" fmla="*/ 312 w 480"/>
                <a:gd name="T3" fmla="*/ 312 h 507"/>
                <a:gd name="T4" fmla="*/ 320 w 480"/>
                <a:gd name="T5" fmla="*/ 267 h 507"/>
                <a:gd name="T6" fmla="*/ 324 w 480"/>
                <a:gd name="T7" fmla="*/ 261 h 507"/>
                <a:gd name="T8" fmla="*/ 329 w 480"/>
                <a:gd name="T9" fmla="*/ 254 h 507"/>
                <a:gd name="T10" fmla="*/ 332 w 480"/>
                <a:gd name="T11" fmla="*/ 244 h 507"/>
                <a:gd name="T12" fmla="*/ 336 w 480"/>
                <a:gd name="T13" fmla="*/ 231 h 507"/>
                <a:gd name="T14" fmla="*/ 338 w 480"/>
                <a:gd name="T15" fmla="*/ 219 h 507"/>
                <a:gd name="T16" fmla="*/ 339 w 480"/>
                <a:gd name="T17" fmla="*/ 203 h 507"/>
                <a:gd name="T18" fmla="*/ 351 w 480"/>
                <a:gd name="T19" fmla="*/ 190 h 507"/>
                <a:gd name="T20" fmla="*/ 354 w 480"/>
                <a:gd name="T21" fmla="*/ 185 h 507"/>
                <a:gd name="T22" fmla="*/ 356 w 480"/>
                <a:gd name="T23" fmla="*/ 179 h 507"/>
                <a:gd name="T24" fmla="*/ 357 w 480"/>
                <a:gd name="T25" fmla="*/ 173 h 507"/>
                <a:gd name="T26" fmla="*/ 358 w 480"/>
                <a:gd name="T27" fmla="*/ 166 h 507"/>
                <a:gd name="T28" fmla="*/ 357 w 480"/>
                <a:gd name="T29" fmla="*/ 149 h 507"/>
                <a:gd name="T30" fmla="*/ 355 w 480"/>
                <a:gd name="T31" fmla="*/ 140 h 507"/>
                <a:gd name="T32" fmla="*/ 350 w 480"/>
                <a:gd name="T33" fmla="*/ 131 h 507"/>
                <a:gd name="T34" fmla="*/ 343 w 480"/>
                <a:gd name="T35" fmla="*/ 125 h 507"/>
                <a:gd name="T36" fmla="*/ 351 w 480"/>
                <a:gd name="T37" fmla="*/ 100 h 507"/>
                <a:gd name="T38" fmla="*/ 354 w 480"/>
                <a:gd name="T39" fmla="*/ 88 h 507"/>
                <a:gd name="T40" fmla="*/ 350 w 480"/>
                <a:gd name="T41" fmla="*/ 48 h 507"/>
                <a:gd name="T42" fmla="*/ 336 w 480"/>
                <a:gd name="T43" fmla="*/ 28 h 507"/>
                <a:gd name="T44" fmla="*/ 305 w 480"/>
                <a:gd name="T45" fmla="*/ 9 h 507"/>
                <a:gd name="T46" fmla="*/ 244 w 480"/>
                <a:gd name="T47" fmla="*/ 0 h 507"/>
                <a:gd name="T48" fmla="*/ 229 w 480"/>
                <a:gd name="T49" fmla="*/ 2 h 507"/>
                <a:gd name="T50" fmla="*/ 215 w 480"/>
                <a:gd name="T51" fmla="*/ 4 h 507"/>
                <a:gd name="T52" fmla="*/ 199 w 480"/>
                <a:gd name="T53" fmla="*/ 9 h 507"/>
                <a:gd name="T54" fmla="*/ 181 w 480"/>
                <a:gd name="T55" fmla="*/ 16 h 507"/>
                <a:gd name="T56" fmla="*/ 157 w 480"/>
                <a:gd name="T57" fmla="*/ 38 h 507"/>
                <a:gd name="T58" fmla="*/ 150 w 480"/>
                <a:gd name="T59" fmla="*/ 44 h 507"/>
                <a:gd name="T60" fmla="*/ 138 w 480"/>
                <a:gd name="T61" fmla="*/ 46 h 507"/>
                <a:gd name="T62" fmla="*/ 131 w 480"/>
                <a:gd name="T63" fmla="*/ 48 h 507"/>
                <a:gd name="T64" fmla="*/ 125 w 480"/>
                <a:gd name="T65" fmla="*/ 53 h 507"/>
                <a:gd name="T66" fmla="*/ 121 w 480"/>
                <a:gd name="T67" fmla="*/ 60 h 507"/>
                <a:gd name="T68" fmla="*/ 118 w 480"/>
                <a:gd name="T69" fmla="*/ 68 h 507"/>
                <a:gd name="T70" fmla="*/ 118 w 480"/>
                <a:gd name="T71" fmla="*/ 77 h 507"/>
                <a:gd name="T72" fmla="*/ 119 w 480"/>
                <a:gd name="T73" fmla="*/ 85 h 507"/>
                <a:gd name="T74" fmla="*/ 121 w 480"/>
                <a:gd name="T75" fmla="*/ 94 h 507"/>
                <a:gd name="T76" fmla="*/ 124 w 480"/>
                <a:gd name="T77" fmla="*/ 103 h 507"/>
                <a:gd name="T78" fmla="*/ 130 w 480"/>
                <a:gd name="T79" fmla="*/ 117 h 507"/>
                <a:gd name="T80" fmla="*/ 126 w 480"/>
                <a:gd name="T81" fmla="*/ 130 h 507"/>
                <a:gd name="T82" fmla="*/ 115 w 480"/>
                <a:gd name="T83" fmla="*/ 155 h 507"/>
                <a:gd name="T84" fmla="*/ 116 w 480"/>
                <a:gd name="T85" fmla="*/ 175 h 507"/>
                <a:gd name="T86" fmla="*/ 119 w 480"/>
                <a:gd name="T87" fmla="*/ 186 h 507"/>
                <a:gd name="T88" fmla="*/ 125 w 480"/>
                <a:gd name="T89" fmla="*/ 194 h 507"/>
                <a:gd name="T90" fmla="*/ 134 w 480"/>
                <a:gd name="T91" fmla="*/ 201 h 507"/>
                <a:gd name="T92" fmla="*/ 138 w 480"/>
                <a:gd name="T93" fmla="*/ 218 h 507"/>
                <a:gd name="T94" fmla="*/ 148 w 480"/>
                <a:gd name="T95" fmla="*/ 250 h 507"/>
                <a:gd name="T96" fmla="*/ 165 w 480"/>
                <a:gd name="T97" fmla="*/ 272 h 507"/>
                <a:gd name="T98" fmla="*/ 168 w 480"/>
                <a:gd name="T99" fmla="*/ 319 h 507"/>
                <a:gd name="T100" fmla="*/ 62 w 480"/>
                <a:gd name="T101" fmla="*/ 370 h 507"/>
                <a:gd name="T102" fmla="*/ 9 w 480"/>
                <a:gd name="T103" fmla="*/ 408 h 507"/>
                <a:gd name="T104" fmla="*/ 0 w 480"/>
                <a:gd name="T105" fmla="*/ 424 h 507"/>
                <a:gd name="T106" fmla="*/ 9 w 480"/>
                <a:gd name="T107" fmla="*/ 506 h 507"/>
                <a:gd name="T108" fmla="*/ 476 w 480"/>
                <a:gd name="T109" fmla="*/ 504 h 507"/>
                <a:gd name="T110" fmla="*/ 480 w 480"/>
                <a:gd name="T111" fmla="*/ 420 h 507"/>
                <a:gd name="T112" fmla="*/ 462 w 480"/>
                <a:gd name="T113" fmla="*/ 399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80" h="507">
                  <a:moveTo>
                    <a:pt x="446" y="388"/>
                  </a:moveTo>
                  <a:lnTo>
                    <a:pt x="435" y="380"/>
                  </a:lnTo>
                  <a:lnTo>
                    <a:pt x="418" y="370"/>
                  </a:lnTo>
                  <a:lnTo>
                    <a:pt x="393" y="357"/>
                  </a:lnTo>
                  <a:lnTo>
                    <a:pt x="367" y="344"/>
                  </a:lnTo>
                  <a:lnTo>
                    <a:pt x="339" y="331"/>
                  </a:lnTo>
                  <a:lnTo>
                    <a:pt x="312" y="319"/>
                  </a:lnTo>
                  <a:lnTo>
                    <a:pt x="312" y="312"/>
                  </a:lnTo>
                  <a:lnTo>
                    <a:pt x="312" y="280"/>
                  </a:lnTo>
                  <a:lnTo>
                    <a:pt x="312" y="274"/>
                  </a:lnTo>
                  <a:lnTo>
                    <a:pt x="317" y="272"/>
                  </a:lnTo>
                  <a:lnTo>
                    <a:pt x="320" y="267"/>
                  </a:lnTo>
                  <a:lnTo>
                    <a:pt x="320" y="266"/>
                  </a:lnTo>
                  <a:lnTo>
                    <a:pt x="320" y="266"/>
                  </a:lnTo>
                  <a:lnTo>
                    <a:pt x="323" y="263"/>
                  </a:lnTo>
                  <a:lnTo>
                    <a:pt x="324" y="261"/>
                  </a:lnTo>
                  <a:lnTo>
                    <a:pt x="325" y="260"/>
                  </a:lnTo>
                  <a:lnTo>
                    <a:pt x="325" y="260"/>
                  </a:lnTo>
                  <a:lnTo>
                    <a:pt x="326" y="256"/>
                  </a:lnTo>
                  <a:lnTo>
                    <a:pt x="329" y="254"/>
                  </a:lnTo>
                  <a:lnTo>
                    <a:pt x="329" y="253"/>
                  </a:lnTo>
                  <a:lnTo>
                    <a:pt x="329" y="251"/>
                  </a:lnTo>
                  <a:lnTo>
                    <a:pt x="331" y="248"/>
                  </a:lnTo>
                  <a:lnTo>
                    <a:pt x="332" y="244"/>
                  </a:lnTo>
                  <a:lnTo>
                    <a:pt x="332" y="243"/>
                  </a:lnTo>
                  <a:lnTo>
                    <a:pt x="332" y="243"/>
                  </a:lnTo>
                  <a:lnTo>
                    <a:pt x="335" y="237"/>
                  </a:lnTo>
                  <a:lnTo>
                    <a:pt x="336" y="231"/>
                  </a:lnTo>
                  <a:lnTo>
                    <a:pt x="336" y="231"/>
                  </a:lnTo>
                  <a:lnTo>
                    <a:pt x="336" y="231"/>
                  </a:lnTo>
                  <a:lnTo>
                    <a:pt x="337" y="225"/>
                  </a:lnTo>
                  <a:lnTo>
                    <a:pt x="338" y="219"/>
                  </a:lnTo>
                  <a:lnTo>
                    <a:pt x="338" y="217"/>
                  </a:lnTo>
                  <a:lnTo>
                    <a:pt x="338" y="215"/>
                  </a:lnTo>
                  <a:lnTo>
                    <a:pt x="339" y="209"/>
                  </a:lnTo>
                  <a:lnTo>
                    <a:pt x="339" y="203"/>
                  </a:lnTo>
                  <a:lnTo>
                    <a:pt x="345" y="197"/>
                  </a:lnTo>
                  <a:lnTo>
                    <a:pt x="351" y="191"/>
                  </a:lnTo>
                  <a:lnTo>
                    <a:pt x="351" y="190"/>
                  </a:lnTo>
                  <a:lnTo>
                    <a:pt x="351" y="190"/>
                  </a:lnTo>
                  <a:lnTo>
                    <a:pt x="352" y="187"/>
                  </a:lnTo>
                  <a:lnTo>
                    <a:pt x="354" y="185"/>
                  </a:lnTo>
                  <a:lnTo>
                    <a:pt x="354" y="185"/>
                  </a:lnTo>
                  <a:lnTo>
                    <a:pt x="354" y="185"/>
                  </a:lnTo>
                  <a:lnTo>
                    <a:pt x="355" y="182"/>
                  </a:lnTo>
                  <a:lnTo>
                    <a:pt x="355" y="180"/>
                  </a:lnTo>
                  <a:lnTo>
                    <a:pt x="356" y="179"/>
                  </a:lnTo>
                  <a:lnTo>
                    <a:pt x="356" y="179"/>
                  </a:lnTo>
                  <a:lnTo>
                    <a:pt x="356" y="176"/>
                  </a:lnTo>
                  <a:lnTo>
                    <a:pt x="357" y="174"/>
                  </a:lnTo>
                  <a:lnTo>
                    <a:pt x="357" y="173"/>
                  </a:lnTo>
                  <a:lnTo>
                    <a:pt x="357" y="173"/>
                  </a:lnTo>
                  <a:lnTo>
                    <a:pt x="357" y="169"/>
                  </a:lnTo>
                  <a:lnTo>
                    <a:pt x="358" y="167"/>
                  </a:lnTo>
                  <a:lnTo>
                    <a:pt x="358" y="167"/>
                  </a:lnTo>
                  <a:lnTo>
                    <a:pt x="358" y="166"/>
                  </a:lnTo>
                  <a:lnTo>
                    <a:pt x="358" y="163"/>
                  </a:lnTo>
                  <a:lnTo>
                    <a:pt x="358" y="160"/>
                  </a:lnTo>
                  <a:lnTo>
                    <a:pt x="358" y="155"/>
                  </a:lnTo>
                  <a:lnTo>
                    <a:pt x="357" y="149"/>
                  </a:lnTo>
                  <a:lnTo>
                    <a:pt x="357" y="149"/>
                  </a:lnTo>
                  <a:lnTo>
                    <a:pt x="357" y="148"/>
                  </a:lnTo>
                  <a:lnTo>
                    <a:pt x="356" y="143"/>
                  </a:lnTo>
                  <a:lnTo>
                    <a:pt x="355" y="140"/>
                  </a:lnTo>
                  <a:lnTo>
                    <a:pt x="355" y="138"/>
                  </a:lnTo>
                  <a:lnTo>
                    <a:pt x="354" y="138"/>
                  </a:lnTo>
                  <a:lnTo>
                    <a:pt x="352" y="135"/>
                  </a:lnTo>
                  <a:lnTo>
                    <a:pt x="350" y="131"/>
                  </a:lnTo>
                  <a:lnTo>
                    <a:pt x="350" y="131"/>
                  </a:lnTo>
                  <a:lnTo>
                    <a:pt x="349" y="131"/>
                  </a:lnTo>
                  <a:lnTo>
                    <a:pt x="347" y="128"/>
                  </a:lnTo>
                  <a:lnTo>
                    <a:pt x="343" y="125"/>
                  </a:lnTo>
                  <a:lnTo>
                    <a:pt x="344" y="122"/>
                  </a:lnTo>
                  <a:lnTo>
                    <a:pt x="347" y="117"/>
                  </a:lnTo>
                  <a:lnTo>
                    <a:pt x="349" y="109"/>
                  </a:lnTo>
                  <a:lnTo>
                    <a:pt x="351" y="100"/>
                  </a:lnTo>
                  <a:lnTo>
                    <a:pt x="351" y="100"/>
                  </a:lnTo>
                  <a:lnTo>
                    <a:pt x="351" y="100"/>
                  </a:lnTo>
                  <a:lnTo>
                    <a:pt x="351" y="100"/>
                  </a:lnTo>
                  <a:lnTo>
                    <a:pt x="354" y="88"/>
                  </a:lnTo>
                  <a:lnTo>
                    <a:pt x="355" y="77"/>
                  </a:lnTo>
                  <a:lnTo>
                    <a:pt x="355" y="66"/>
                  </a:lnTo>
                  <a:lnTo>
                    <a:pt x="352" y="54"/>
                  </a:lnTo>
                  <a:lnTo>
                    <a:pt x="350" y="48"/>
                  </a:lnTo>
                  <a:lnTo>
                    <a:pt x="348" y="43"/>
                  </a:lnTo>
                  <a:lnTo>
                    <a:pt x="344" y="37"/>
                  </a:lnTo>
                  <a:lnTo>
                    <a:pt x="341" y="33"/>
                  </a:lnTo>
                  <a:lnTo>
                    <a:pt x="336" y="28"/>
                  </a:lnTo>
                  <a:lnTo>
                    <a:pt x="331" y="23"/>
                  </a:lnTo>
                  <a:lnTo>
                    <a:pt x="325" y="18"/>
                  </a:lnTo>
                  <a:lnTo>
                    <a:pt x="319" y="15"/>
                  </a:lnTo>
                  <a:lnTo>
                    <a:pt x="305" y="9"/>
                  </a:lnTo>
                  <a:lnTo>
                    <a:pt x="288" y="4"/>
                  </a:lnTo>
                  <a:lnTo>
                    <a:pt x="270" y="2"/>
                  </a:lnTo>
                  <a:lnTo>
                    <a:pt x="251" y="0"/>
                  </a:lnTo>
                  <a:lnTo>
                    <a:pt x="244" y="0"/>
                  </a:lnTo>
                  <a:lnTo>
                    <a:pt x="237" y="0"/>
                  </a:lnTo>
                  <a:lnTo>
                    <a:pt x="235" y="0"/>
                  </a:lnTo>
                  <a:lnTo>
                    <a:pt x="232" y="2"/>
                  </a:lnTo>
                  <a:lnTo>
                    <a:pt x="229" y="2"/>
                  </a:lnTo>
                  <a:lnTo>
                    <a:pt x="224" y="3"/>
                  </a:lnTo>
                  <a:lnTo>
                    <a:pt x="220" y="3"/>
                  </a:lnTo>
                  <a:lnTo>
                    <a:pt x="217" y="4"/>
                  </a:lnTo>
                  <a:lnTo>
                    <a:pt x="215" y="4"/>
                  </a:lnTo>
                  <a:lnTo>
                    <a:pt x="212" y="5"/>
                  </a:lnTo>
                  <a:lnTo>
                    <a:pt x="207" y="6"/>
                  </a:lnTo>
                  <a:lnTo>
                    <a:pt x="204" y="8"/>
                  </a:lnTo>
                  <a:lnTo>
                    <a:pt x="199" y="9"/>
                  </a:lnTo>
                  <a:lnTo>
                    <a:pt x="195" y="10"/>
                  </a:lnTo>
                  <a:lnTo>
                    <a:pt x="194" y="10"/>
                  </a:lnTo>
                  <a:lnTo>
                    <a:pt x="192" y="11"/>
                  </a:lnTo>
                  <a:lnTo>
                    <a:pt x="181" y="16"/>
                  </a:lnTo>
                  <a:lnTo>
                    <a:pt x="172" y="23"/>
                  </a:lnTo>
                  <a:lnTo>
                    <a:pt x="163" y="30"/>
                  </a:lnTo>
                  <a:lnTo>
                    <a:pt x="157" y="38"/>
                  </a:lnTo>
                  <a:lnTo>
                    <a:pt x="157" y="38"/>
                  </a:lnTo>
                  <a:lnTo>
                    <a:pt x="157" y="38"/>
                  </a:lnTo>
                  <a:lnTo>
                    <a:pt x="155" y="42"/>
                  </a:lnTo>
                  <a:lnTo>
                    <a:pt x="154" y="44"/>
                  </a:lnTo>
                  <a:lnTo>
                    <a:pt x="150" y="44"/>
                  </a:lnTo>
                  <a:lnTo>
                    <a:pt x="148" y="44"/>
                  </a:lnTo>
                  <a:lnTo>
                    <a:pt x="143" y="44"/>
                  </a:lnTo>
                  <a:lnTo>
                    <a:pt x="140" y="46"/>
                  </a:lnTo>
                  <a:lnTo>
                    <a:pt x="138" y="46"/>
                  </a:lnTo>
                  <a:lnTo>
                    <a:pt x="137" y="46"/>
                  </a:lnTo>
                  <a:lnTo>
                    <a:pt x="135" y="47"/>
                  </a:lnTo>
                  <a:lnTo>
                    <a:pt x="131" y="48"/>
                  </a:lnTo>
                  <a:lnTo>
                    <a:pt x="131" y="48"/>
                  </a:lnTo>
                  <a:lnTo>
                    <a:pt x="130" y="49"/>
                  </a:lnTo>
                  <a:lnTo>
                    <a:pt x="128" y="50"/>
                  </a:lnTo>
                  <a:lnTo>
                    <a:pt x="126" y="53"/>
                  </a:lnTo>
                  <a:lnTo>
                    <a:pt x="125" y="53"/>
                  </a:lnTo>
                  <a:lnTo>
                    <a:pt x="125" y="53"/>
                  </a:lnTo>
                  <a:lnTo>
                    <a:pt x="124" y="55"/>
                  </a:lnTo>
                  <a:lnTo>
                    <a:pt x="123" y="56"/>
                  </a:lnTo>
                  <a:lnTo>
                    <a:pt x="121" y="60"/>
                  </a:lnTo>
                  <a:lnTo>
                    <a:pt x="119" y="63"/>
                  </a:lnTo>
                  <a:lnTo>
                    <a:pt x="119" y="65"/>
                  </a:lnTo>
                  <a:lnTo>
                    <a:pt x="119" y="66"/>
                  </a:lnTo>
                  <a:lnTo>
                    <a:pt x="118" y="68"/>
                  </a:lnTo>
                  <a:lnTo>
                    <a:pt x="118" y="71"/>
                  </a:lnTo>
                  <a:lnTo>
                    <a:pt x="118" y="73"/>
                  </a:lnTo>
                  <a:lnTo>
                    <a:pt x="118" y="75"/>
                  </a:lnTo>
                  <a:lnTo>
                    <a:pt x="118" y="77"/>
                  </a:lnTo>
                  <a:lnTo>
                    <a:pt x="118" y="79"/>
                  </a:lnTo>
                  <a:lnTo>
                    <a:pt x="118" y="81"/>
                  </a:lnTo>
                  <a:lnTo>
                    <a:pt x="118" y="84"/>
                  </a:lnTo>
                  <a:lnTo>
                    <a:pt x="119" y="85"/>
                  </a:lnTo>
                  <a:lnTo>
                    <a:pt x="119" y="87"/>
                  </a:lnTo>
                  <a:lnTo>
                    <a:pt x="121" y="90"/>
                  </a:lnTo>
                  <a:lnTo>
                    <a:pt x="121" y="92"/>
                  </a:lnTo>
                  <a:lnTo>
                    <a:pt x="121" y="94"/>
                  </a:lnTo>
                  <a:lnTo>
                    <a:pt x="122" y="96"/>
                  </a:lnTo>
                  <a:lnTo>
                    <a:pt x="123" y="98"/>
                  </a:lnTo>
                  <a:lnTo>
                    <a:pt x="123" y="100"/>
                  </a:lnTo>
                  <a:lnTo>
                    <a:pt x="124" y="103"/>
                  </a:lnTo>
                  <a:lnTo>
                    <a:pt x="125" y="106"/>
                  </a:lnTo>
                  <a:lnTo>
                    <a:pt x="125" y="107"/>
                  </a:lnTo>
                  <a:lnTo>
                    <a:pt x="126" y="109"/>
                  </a:lnTo>
                  <a:lnTo>
                    <a:pt x="130" y="117"/>
                  </a:lnTo>
                  <a:lnTo>
                    <a:pt x="132" y="125"/>
                  </a:lnTo>
                  <a:lnTo>
                    <a:pt x="132" y="125"/>
                  </a:lnTo>
                  <a:lnTo>
                    <a:pt x="134" y="125"/>
                  </a:lnTo>
                  <a:lnTo>
                    <a:pt x="126" y="130"/>
                  </a:lnTo>
                  <a:lnTo>
                    <a:pt x="122" y="136"/>
                  </a:lnTo>
                  <a:lnTo>
                    <a:pt x="118" y="142"/>
                  </a:lnTo>
                  <a:lnTo>
                    <a:pt x="116" y="148"/>
                  </a:lnTo>
                  <a:lnTo>
                    <a:pt x="115" y="155"/>
                  </a:lnTo>
                  <a:lnTo>
                    <a:pt x="115" y="163"/>
                  </a:lnTo>
                  <a:lnTo>
                    <a:pt x="115" y="168"/>
                  </a:lnTo>
                  <a:lnTo>
                    <a:pt x="116" y="174"/>
                  </a:lnTo>
                  <a:lnTo>
                    <a:pt x="116" y="175"/>
                  </a:lnTo>
                  <a:lnTo>
                    <a:pt x="116" y="175"/>
                  </a:lnTo>
                  <a:lnTo>
                    <a:pt x="117" y="180"/>
                  </a:lnTo>
                  <a:lnTo>
                    <a:pt x="118" y="185"/>
                  </a:lnTo>
                  <a:lnTo>
                    <a:pt x="119" y="186"/>
                  </a:lnTo>
                  <a:lnTo>
                    <a:pt x="119" y="187"/>
                  </a:lnTo>
                  <a:lnTo>
                    <a:pt x="122" y="190"/>
                  </a:lnTo>
                  <a:lnTo>
                    <a:pt x="124" y="193"/>
                  </a:lnTo>
                  <a:lnTo>
                    <a:pt x="125" y="194"/>
                  </a:lnTo>
                  <a:lnTo>
                    <a:pt x="126" y="195"/>
                  </a:lnTo>
                  <a:lnTo>
                    <a:pt x="128" y="198"/>
                  </a:lnTo>
                  <a:lnTo>
                    <a:pt x="130" y="199"/>
                  </a:lnTo>
                  <a:lnTo>
                    <a:pt x="134" y="201"/>
                  </a:lnTo>
                  <a:lnTo>
                    <a:pt x="137" y="203"/>
                  </a:lnTo>
                  <a:lnTo>
                    <a:pt x="137" y="210"/>
                  </a:lnTo>
                  <a:lnTo>
                    <a:pt x="138" y="216"/>
                  </a:lnTo>
                  <a:lnTo>
                    <a:pt x="138" y="218"/>
                  </a:lnTo>
                  <a:lnTo>
                    <a:pt x="138" y="220"/>
                  </a:lnTo>
                  <a:lnTo>
                    <a:pt x="141" y="231"/>
                  </a:lnTo>
                  <a:lnTo>
                    <a:pt x="144" y="242"/>
                  </a:lnTo>
                  <a:lnTo>
                    <a:pt x="148" y="250"/>
                  </a:lnTo>
                  <a:lnTo>
                    <a:pt x="153" y="257"/>
                  </a:lnTo>
                  <a:lnTo>
                    <a:pt x="156" y="263"/>
                  </a:lnTo>
                  <a:lnTo>
                    <a:pt x="161" y="268"/>
                  </a:lnTo>
                  <a:lnTo>
                    <a:pt x="165" y="272"/>
                  </a:lnTo>
                  <a:lnTo>
                    <a:pt x="168" y="275"/>
                  </a:lnTo>
                  <a:lnTo>
                    <a:pt x="168" y="281"/>
                  </a:lnTo>
                  <a:lnTo>
                    <a:pt x="168" y="312"/>
                  </a:lnTo>
                  <a:lnTo>
                    <a:pt x="168" y="319"/>
                  </a:lnTo>
                  <a:lnTo>
                    <a:pt x="142" y="331"/>
                  </a:lnTo>
                  <a:lnTo>
                    <a:pt x="115" y="344"/>
                  </a:lnTo>
                  <a:lnTo>
                    <a:pt x="87" y="357"/>
                  </a:lnTo>
                  <a:lnTo>
                    <a:pt x="62" y="370"/>
                  </a:lnTo>
                  <a:lnTo>
                    <a:pt x="47" y="380"/>
                  </a:lnTo>
                  <a:lnTo>
                    <a:pt x="34" y="388"/>
                  </a:lnTo>
                  <a:lnTo>
                    <a:pt x="19" y="399"/>
                  </a:lnTo>
                  <a:lnTo>
                    <a:pt x="9" y="408"/>
                  </a:lnTo>
                  <a:lnTo>
                    <a:pt x="5" y="413"/>
                  </a:lnTo>
                  <a:lnTo>
                    <a:pt x="3" y="417"/>
                  </a:lnTo>
                  <a:lnTo>
                    <a:pt x="2" y="420"/>
                  </a:lnTo>
                  <a:lnTo>
                    <a:pt x="0" y="424"/>
                  </a:lnTo>
                  <a:lnTo>
                    <a:pt x="0" y="495"/>
                  </a:lnTo>
                  <a:lnTo>
                    <a:pt x="2" y="500"/>
                  </a:lnTo>
                  <a:lnTo>
                    <a:pt x="4" y="504"/>
                  </a:lnTo>
                  <a:lnTo>
                    <a:pt x="9" y="506"/>
                  </a:lnTo>
                  <a:lnTo>
                    <a:pt x="13" y="507"/>
                  </a:lnTo>
                  <a:lnTo>
                    <a:pt x="468" y="507"/>
                  </a:lnTo>
                  <a:lnTo>
                    <a:pt x="473" y="506"/>
                  </a:lnTo>
                  <a:lnTo>
                    <a:pt x="476" y="504"/>
                  </a:lnTo>
                  <a:lnTo>
                    <a:pt x="479" y="500"/>
                  </a:lnTo>
                  <a:lnTo>
                    <a:pt x="480" y="495"/>
                  </a:lnTo>
                  <a:lnTo>
                    <a:pt x="480" y="424"/>
                  </a:lnTo>
                  <a:lnTo>
                    <a:pt x="480" y="420"/>
                  </a:lnTo>
                  <a:lnTo>
                    <a:pt x="479" y="417"/>
                  </a:lnTo>
                  <a:lnTo>
                    <a:pt x="475" y="413"/>
                  </a:lnTo>
                  <a:lnTo>
                    <a:pt x="471" y="408"/>
                  </a:lnTo>
                  <a:lnTo>
                    <a:pt x="462" y="399"/>
                  </a:lnTo>
                  <a:lnTo>
                    <a:pt x="446" y="38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6A719BA1-8FE1-4C0A-BD24-3052A0E2DD94}"/>
              </a:ext>
            </a:extLst>
          </p:cNvPr>
          <p:cNvGrpSpPr/>
          <p:nvPr/>
        </p:nvGrpSpPr>
        <p:grpSpPr>
          <a:xfrm>
            <a:off x="9172898" y="5195631"/>
            <a:ext cx="367657" cy="378221"/>
            <a:chOff x="7048500" y="1387475"/>
            <a:chExt cx="276226" cy="284163"/>
          </a:xfrm>
          <a:solidFill>
            <a:schemeClr val="accent2"/>
          </a:solidFill>
        </p:grpSpPr>
        <p:sp>
          <p:nvSpPr>
            <p:cNvPr id="48" name="Freeform 4357">
              <a:extLst>
                <a:ext uri="{FF2B5EF4-FFF2-40B4-BE49-F238E27FC236}">
                  <a16:creationId xmlns:a16="http://schemas.microsoft.com/office/drawing/2014/main" id="{EC7E4B10-E43A-4CE6-B800-5D3FD6A9CB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61213" y="1387475"/>
              <a:ext cx="163513" cy="160338"/>
            </a:xfrm>
            <a:custGeom>
              <a:avLst/>
              <a:gdLst>
                <a:gd name="T0" fmla="*/ 229 w 512"/>
                <a:gd name="T1" fmla="*/ 345 h 506"/>
                <a:gd name="T2" fmla="*/ 198 w 512"/>
                <a:gd name="T3" fmla="*/ 328 h 506"/>
                <a:gd name="T4" fmla="*/ 177 w 512"/>
                <a:gd name="T5" fmla="*/ 302 h 506"/>
                <a:gd name="T6" fmla="*/ 166 w 512"/>
                <a:gd name="T7" fmla="*/ 268 h 506"/>
                <a:gd name="T8" fmla="*/ 169 w 512"/>
                <a:gd name="T9" fmla="*/ 232 h 506"/>
                <a:gd name="T10" fmla="*/ 187 w 512"/>
                <a:gd name="T11" fmla="*/ 201 h 506"/>
                <a:gd name="T12" fmla="*/ 213 w 512"/>
                <a:gd name="T13" fmla="*/ 179 h 506"/>
                <a:gd name="T14" fmla="*/ 246 w 512"/>
                <a:gd name="T15" fmla="*/ 169 h 506"/>
                <a:gd name="T16" fmla="*/ 283 w 512"/>
                <a:gd name="T17" fmla="*/ 172 h 506"/>
                <a:gd name="T18" fmla="*/ 314 w 512"/>
                <a:gd name="T19" fmla="*/ 189 h 506"/>
                <a:gd name="T20" fmla="*/ 335 w 512"/>
                <a:gd name="T21" fmla="*/ 216 h 506"/>
                <a:gd name="T22" fmla="*/ 346 w 512"/>
                <a:gd name="T23" fmla="*/ 250 h 506"/>
                <a:gd name="T24" fmla="*/ 343 w 512"/>
                <a:gd name="T25" fmla="*/ 286 h 506"/>
                <a:gd name="T26" fmla="*/ 326 w 512"/>
                <a:gd name="T27" fmla="*/ 316 h 506"/>
                <a:gd name="T28" fmla="*/ 299 w 512"/>
                <a:gd name="T29" fmla="*/ 338 h 506"/>
                <a:gd name="T30" fmla="*/ 265 w 512"/>
                <a:gd name="T31" fmla="*/ 348 h 506"/>
                <a:gd name="T32" fmla="*/ 458 w 512"/>
                <a:gd name="T33" fmla="*/ 276 h 506"/>
                <a:gd name="T34" fmla="*/ 504 w 512"/>
                <a:gd name="T35" fmla="*/ 198 h 506"/>
                <a:gd name="T36" fmla="*/ 511 w 512"/>
                <a:gd name="T37" fmla="*/ 189 h 506"/>
                <a:gd name="T38" fmla="*/ 510 w 512"/>
                <a:gd name="T39" fmla="*/ 178 h 506"/>
                <a:gd name="T40" fmla="*/ 438 w 512"/>
                <a:gd name="T41" fmla="*/ 72 h 506"/>
                <a:gd name="T42" fmla="*/ 363 w 512"/>
                <a:gd name="T43" fmla="*/ 85 h 506"/>
                <a:gd name="T44" fmla="*/ 332 w 512"/>
                <a:gd name="T45" fmla="*/ 10 h 506"/>
                <a:gd name="T46" fmla="*/ 326 w 512"/>
                <a:gd name="T47" fmla="*/ 2 h 506"/>
                <a:gd name="T48" fmla="*/ 204 w 512"/>
                <a:gd name="T49" fmla="*/ 0 h 506"/>
                <a:gd name="T50" fmla="*/ 193 w 512"/>
                <a:gd name="T51" fmla="*/ 3 h 506"/>
                <a:gd name="T52" fmla="*/ 189 w 512"/>
                <a:gd name="T53" fmla="*/ 14 h 506"/>
                <a:gd name="T54" fmla="*/ 162 w 512"/>
                <a:gd name="T55" fmla="*/ 78 h 506"/>
                <a:gd name="T56" fmla="*/ 81 w 512"/>
                <a:gd name="T57" fmla="*/ 74 h 506"/>
                <a:gd name="T58" fmla="*/ 65 w 512"/>
                <a:gd name="T59" fmla="*/ 76 h 506"/>
                <a:gd name="T60" fmla="*/ 1 w 512"/>
                <a:gd name="T61" fmla="*/ 184 h 506"/>
                <a:gd name="T62" fmla="*/ 6 w 512"/>
                <a:gd name="T63" fmla="*/ 197 h 506"/>
                <a:gd name="T64" fmla="*/ 53 w 512"/>
                <a:gd name="T65" fmla="*/ 259 h 506"/>
                <a:gd name="T66" fmla="*/ 4 w 512"/>
                <a:gd name="T67" fmla="*/ 324 h 506"/>
                <a:gd name="T68" fmla="*/ 1 w 512"/>
                <a:gd name="T69" fmla="*/ 338 h 506"/>
                <a:gd name="T70" fmla="*/ 62 w 512"/>
                <a:gd name="T71" fmla="*/ 442 h 506"/>
                <a:gd name="T72" fmla="*/ 73 w 512"/>
                <a:gd name="T73" fmla="*/ 445 h 506"/>
                <a:gd name="T74" fmla="*/ 141 w 512"/>
                <a:gd name="T75" fmla="*/ 427 h 506"/>
                <a:gd name="T76" fmla="*/ 179 w 512"/>
                <a:gd name="T77" fmla="*/ 447 h 506"/>
                <a:gd name="T78" fmla="*/ 190 w 512"/>
                <a:gd name="T79" fmla="*/ 497 h 506"/>
                <a:gd name="T80" fmla="*/ 198 w 512"/>
                <a:gd name="T81" fmla="*/ 505 h 506"/>
                <a:gd name="T82" fmla="*/ 320 w 512"/>
                <a:gd name="T83" fmla="*/ 506 h 506"/>
                <a:gd name="T84" fmla="*/ 330 w 512"/>
                <a:gd name="T85" fmla="*/ 499 h 506"/>
                <a:gd name="T86" fmla="*/ 332 w 512"/>
                <a:gd name="T87" fmla="*/ 448 h 506"/>
                <a:gd name="T88" fmla="*/ 387 w 512"/>
                <a:gd name="T89" fmla="*/ 416 h 506"/>
                <a:gd name="T90" fmla="*/ 441 w 512"/>
                <a:gd name="T91" fmla="*/ 446 h 506"/>
                <a:gd name="T92" fmla="*/ 451 w 512"/>
                <a:gd name="T93" fmla="*/ 440 h 506"/>
                <a:gd name="T94" fmla="*/ 512 w 512"/>
                <a:gd name="T95" fmla="*/ 335 h 506"/>
                <a:gd name="T96" fmla="*/ 509 w 512"/>
                <a:gd name="T97" fmla="*/ 323 h 5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12" h="506">
                  <a:moveTo>
                    <a:pt x="256" y="350"/>
                  </a:moveTo>
                  <a:lnTo>
                    <a:pt x="246" y="348"/>
                  </a:lnTo>
                  <a:lnTo>
                    <a:pt x="238" y="347"/>
                  </a:lnTo>
                  <a:lnTo>
                    <a:pt x="229" y="345"/>
                  </a:lnTo>
                  <a:lnTo>
                    <a:pt x="221" y="342"/>
                  </a:lnTo>
                  <a:lnTo>
                    <a:pt x="213" y="338"/>
                  </a:lnTo>
                  <a:lnTo>
                    <a:pt x="206" y="334"/>
                  </a:lnTo>
                  <a:lnTo>
                    <a:pt x="198" y="328"/>
                  </a:lnTo>
                  <a:lnTo>
                    <a:pt x="192" y="323"/>
                  </a:lnTo>
                  <a:lnTo>
                    <a:pt x="187" y="316"/>
                  </a:lnTo>
                  <a:lnTo>
                    <a:pt x="181" y="310"/>
                  </a:lnTo>
                  <a:lnTo>
                    <a:pt x="177" y="302"/>
                  </a:lnTo>
                  <a:lnTo>
                    <a:pt x="173" y="294"/>
                  </a:lnTo>
                  <a:lnTo>
                    <a:pt x="169" y="286"/>
                  </a:lnTo>
                  <a:lnTo>
                    <a:pt x="167" y="278"/>
                  </a:lnTo>
                  <a:lnTo>
                    <a:pt x="166" y="268"/>
                  </a:lnTo>
                  <a:lnTo>
                    <a:pt x="165" y="260"/>
                  </a:lnTo>
                  <a:lnTo>
                    <a:pt x="166" y="250"/>
                  </a:lnTo>
                  <a:lnTo>
                    <a:pt x="167" y="240"/>
                  </a:lnTo>
                  <a:lnTo>
                    <a:pt x="169" y="232"/>
                  </a:lnTo>
                  <a:lnTo>
                    <a:pt x="173" y="223"/>
                  </a:lnTo>
                  <a:lnTo>
                    <a:pt x="177" y="216"/>
                  </a:lnTo>
                  <a:lnTo>
                    <a:pt x="181" y="208"/>
                  </a:lnTo>
                  <a:lnTo>
                    <a:pt x="187" y="201"/>
                  </a:lnTo>
                  <a:lnTo>
                    <a:pt x="192" y="194"/>
                  </a:lnTo>
                  <a:lnTo>
                    <a:pt x="198" y="189"/>
                  </a:lnTo>
                  <a:lnTo>
                    <a:pt x="206" y="184"/>
                  </a:lnTo>
                  <a:lnTo>
                    <a:pt x="213" y="179"/>
                  </a:lnTo>
                  <a:lnTo>
                    <a:pt x="221" y="175"/>
                  </a:lnTo>
                  <a:lnTo>
                    <a:pt x="229" y="172"/>
                  </a:lnTo>
                  <a:lnTo>
                    <a:pt x="238" y="170"/>
                  </a:lnTo>
                  <a:lnTo>
                    <a:pt x="246" y="169"/>
                  </a:lnTo>
                  <a:lnTo>
                    <a:pt x="256" y="168"/>
                  </a:lnTo>
                  <a:lnTo>
                    <a:pt x="265" y="169"/>
                  </a:lnTo>
                  <a:lnTo>
                    <a:pt x="274" y="170"/>
                  </a:lnTo>
                  <a:lnTo>
                    <a:pt x="283" y="172"/>
                  </a:lnTo>
                  <a:lnTo>
                    <a:pt x="291" y="175"/>
                  </a:lnTo>
                  <a:lnTo>
                    <a:pt x="299" y="179"/>
                  </a:lnTo>
                  <a:lnTo>
                    <a:pt x="306" y="184"/>
                  </a:lnTo>
                  <a:lnTo>
                    <a:pt x="314" y="189"/>
                  </a:lnTo>
                  <a:lnTo>
                    <a:pt x="320" y="194"/>
                  </a:lnTo>
                  <a:lnTo>
                    <a:pt x="326" y="201"/>
                  </a:lnTo>
                  <a:lnTo>
                    <a:pt x="331" y="208"/>
                  </a:lnTo>
                  <a:lnTo>
                    <a:pt x="335" y="216"/>
                  </a:lnTo>
                  <a:lnTo>
                    <a:pt x="340" y="223"/>
                  </a:lnTo>
                  <a:lnTo>
                    <a:pt x="343" y="232"/>
                  </a:lnTo>
                  <a:lnTo>
                    <a:pt x="345" y="240"/>
                  </a:lnTo>
                  <a:lnTo>
                    <a:pt x="346" y="250"/>
                  </a:lnTo>
                  <a:lnTo>
                    <a:pt x="346" y="260"/>
                  </a:lnTo>
                  <a:lnTo>
                    <a:pt x="346" y="268"/>
                  </a:lnTo>
                  <a:lnTo>
                    <a:pt x="345" y="278"/>
                  </a:lnTo>
                  <a:lnTo>
                    <a:pt x="343" y="286"/>
                  </a:lnTo>
                  <a:lnTo>
                    <a:pt x="340" y="294"/>
                  </a:lnTo>
                  <a:lnTo>
                    <a:pt x="335" y="302"/>
                  </a:lnTo>
                  <a:lnTo>
                    <a:pt x="331" y="310"/>
                  </a:lnTo>
                  <a:lnTo>
                    <a:pt x="326" y="316"/>
                  </a:lnTo>
                  <a:lnTo>
                    <a:pt x="320" y="323"/>
                  </a:lnTo>
                  <a:lnTo>
                    <a:pt x="314" y="328"/>
                  </a:lnTo>
                  <a:lnTo>
                    <a:pt x="306" y="334"/>
                  </a:lnTo>
                  <a:lnTo>
                    <a:pt x="299" y="338"/>
                  </a:lnTo>
                  <a:lnTo>
                    <a:pt x="291" y="342"/>
                  </a:lnTo>
                  <a:lnTo>
                    <a:pt x="283" y="345"/>
                  </a:lnTo>
                  <a:lnTo>
                    <a:pt x="274" y="347"/>
                  </a:lnTo>
                  <a:lnTo>
                    <a:pt x="265" y="348"/>
                  </a:lnTo>
                  <a:lnTo>
                    <a:pt x="256" y="350"/>
                  </a:lnTo>
                  <a:close/>
                  <a:moveTo>
                    <a:pt x="504" y="320"/>
                  </a:moveTo>
                  <a:lnTo>
                    <a:pt x="456" y="292"/>
                  </a:lnTo>
                  <a:lnTo>
                    <a:pt x="458" y="276"/>
                  </a:lnTo>
                  <a:lnTo>
                    <a:pt x="459" y="259"/>
                  </a:lnTo>
                  <a:lnTo>
                    <a:pt x="458" y="241"/>
                  </a:lnTo>
                  <a:lnTo>
                    <a:pt x="456" y="225"/>
                  </a:lnTo>
                  <a:lnTo>
                    <a:pt x="504" y="198"/>
                  </a:lnTo>
                  <a:lnTo>
                    <a:pt x="506" y="197"/>
                  </a:lnTo>
                  <a:lnTo>
                    <a:pt x="509" y="194"/>
                  </a:lnTo>
                  <a:lnTo>
                    <a:pt x="510" y="191"/>
                  </a:lnTo>
                  <a:lnTo>
                    <a:pt x="511" y="189"/>
                  </a:lnTo>
                  <a:lnTo>
                    <a:pt x="512" y="186"/>
                  </a:lnTo>
                  <a:lnTo>
                    <a:pt x="512" y="184"/>
                  </a:lnTo>
                  <a:lnTo>
                    <a:pt x="511" y="181"/>
                  </a:lnTo>
                  <a:lnTo>
                    <a:pt x="510" y="178"/>
                  </a:lnTo>
                  <a:lnTo>
                    <a:pt x="453" y="80"/>
                  </a:lnTo>
                  <a:lnTo>
                    <a:pt x="449" y="76"/>
                  </a:lnTo>
                  <a:lnTo>
                    <a:pt x="443" y="72"/>
                  </a:lnTo>
                  <a:lnTo>
                    <a:pt x="438" y="72"/>
                  </a:lnTo>
                  <a:lnTo>
                    <a:pt x="433" y="74"/>
                  </a:lnTo>
                  <a:lnTo>
                    <a:pt x="387" y="102"/>
                  </a:lnTo>
                  <a:lnTo>
                    <a:pt x="376" y="94"/>
                  </a:lnTo>
                  <a:lnTo>
                    <a:pt x="363" y="85"/>
                  </a:lnTo>
                  <a:lnTo>
                    <a:pt x="348" y="78"/>
                  </a:lnTo>
                  <a:lnTo>
                    <a:pt x="332" y="69"/>
                  </a:lnTo>
                  <a:lnTo>
                    <a:pt x="332" y="14"/>
                  </a:lnTo>
                  <a:lnTo>
                    <a:pt x="332" y="10"/>
                  </a:lnTo>
                  <a:lnTo>
                    <a:pt x="331" y="8"/>
                  </a:lnTo>
                  <a:lnTo>
                    <a:pt x="330" y="5"/>
                  </a:lnTo>
                  <a:lnTo>
                    <a:pt x="328" y="3"/>
                  </a:lnTo>
                  <a:lnTo>
                    <a:pt x="326" y="2"/>
                  </a:lnTo>
                  <a:lnTo>
                    <a:pt x="322" y="1"/>
                  </a:lnTo>
                  <a:lnTo>
                    <a:pt x="320" y="0"/>
                  </a:lnTo>
                  <a:lnTo>
                    <a:pt x="317" y="0"/>
                  </a:lnTo>
                  <a:lnTo>
                    <a:pt x="204" y="0"/>
                  </a:lnTo>
                  <a:lnTo>
                    <a:pt x="200" y="0"/>
                  </a:lnTo>
                  <a:lnTo>
                    <a:pt x="198" y="1"/>
                  </a:lnTo>
                  <a:lnTo>
                    <a:pt x="195" y="2"/>
                  </a:lnTo>
                  <a:lnTo>
                    <a:pt x="193" y="3"/>
                  </a:lnTo>
                  <a:lnTo>
                    <a:pt x="192" y="5"/>
                  </a:lnTo>
                  <a:lnTo>
                    <a:pt x="190" y="8"/>
                  </a:lnTo>
                  <a:lnTo>
                    <a:pt x="190" y="10"/>
                  </a:lnTo>
                  <a:lnTo>
                    <a:pt x="189" y="14"/>
                  </a:lnTo>
                  <a:lnTo>
                    <a:pt x="189" y="68"/>
                  </a:lnTo>
                  <a:lnTo>
                    <a:pt x="179" y="71"/>
                  </a:lnTo>
                  <a:lnTo>
                    <a:pt x="169" y="75"/>
                  </a:lnTo>
                  <a:lnTo>
                    <a:pt x="162" y="78"/>
                  </a:lnTo>
                  <a:lnTo>
                    <a:pt x="154" y="82"/>
                  </a:lnTo>
                  <a:lnTo>
                    <a:pt x="141" y="92"/>
                  </a:lnTo>
                  <a:lnTo>
                    <a:pt x="129" y="102"/>
                  </a:lnTo>
                  <a:lnTo>
                    <a:pt x="81" y="74"/>
                  </a:lnTo>
                  <a:lnTo>
                    <a:pt x="75" y="72"/>
                  </a:lnTo>
                  <a:lnTo>
                    <a:pt x="69" y="74"/>
                  </a:lnTo>
                  <a:lnTo>
                    <a:pt x="67" y="74"/>
                  </a:lnTo>
                  <a:lnTo>
                    <a:pt x="65" y="76"/>
                  </a:lnTo>
                  <a:lnTo>
                    <a:pt x="62" y="78"/>
                  </a:lnTo>
                  <a:lnTo>
                    <a:pt x="60" y="80"/>
                  </a:lnTo>
                  <a:lnTo>
                    <a:pt x="3" y="177"/>
                  </a:lnTo>
                  <a:lnTo>
                    <a:pt x="1" y="184"/>
                  </a:lnTo>
                  <a:lnTo>
                    <a:pt x="1" y="189"/>
                  </a:lnTo>
                  <a:lnTo>
                    <a:pt x="3" y="192"/>
                  </a:lnTo>
                  <a:lnTo>
                    <a:pt x="4" y="194"/>
                  </a:lnTo>
                  <a:lnTo>
                    <a:pt x="6" y="197"/>
                  </a:lnTo>
                  <a:lnTo>
                    <a:pt x="9" y="198"/>
                  </a:lnTo>
                  <a:lnTo>
                    <a:pt x="56" y="225"/>
                  </a:lnTo>
                  <a:lnTo>
                    <a:pt x="54" y="241"/>
                  </a:lnTo>
                  <a:lnTo>
                    <a:pt x="53" y="259"/>
                  </a:lnTo>
                  <a:lnTo>
                    <a:pt x="53" y="276"/>
                  </a:lnTo>
                  <a:lnTo>
                    <a:pt x="55" y="292"/>
                  </a:lnTo>
                  <a:lnTo>
                    <a:pt x="8" y="320"/>
                  </a:lnTo>
                  <a:lnTo>
                    <a:pt x="4" y="324"/>
                  </a:lnTo>
                  <a:lnTo>
                    <a:pt x="1" y="328"/>
                  </a:lnTo>
                  <a:lnTo>
                    <a:pt x="0" y="331"/>
                  </a:lnTo>
                  <a:lnTo>
                    <a:pt x="0" y="335"/>
                  </a:lnTo>
                  <a:lnTo>
                    <a:pt x="1" y="338"/>
                  </a:lnTo>
                  <a:lnTo>
                    <a:pt x="3" y="340"/>
                  </a:lnTo>
                  <a:lnTo>
                    <a:pt x="59" y="437"/>
                  </a:lnTo>
                  <a:lnTo>
                    <a:pt x="60" y="439"/>
                  </a:lnTo>
                  <a:lnTo>
                    <a:pt x="62" y="442"/>
                  </a:lnTo>
                  <a:lnTo>
                    <a:pt x="66" y="444"/>
                  </a:lnTo>
                  <a:lnTo>
                    <a:pt x="68" y="445"/>
                  </a:lnTo>
                  <a:lnTo>
                    <a:pt x="71" y="446"/>
                  </a:lnTo>
                  <a:lnTo>
                    <a:pt x="73" y="445"/>
                  </a:lnTo>
                  <a:lnTo>
                    <a:pt x="76" y="445"/>
                  </a:lnTo>
                  <a:lnTo>
                    <a:pt x="80" y="444"/>
                  </a:lnTo>
                  <a:lnTo>
                    <a:pt x="129" y="416"/>
                  </a:lnTo>
                  <a:lnTo>
                    <a:pt x="141" y="427"/>
                  </a:lnTo>
                  <a:lnTo>
                    <a:pt x="154" y="435"/>
                  </a:lnTo>
                  <a:lnTo>
                    <a:pt x="162" y="439"/>
                  </a:lnTo>
                  <a:lnTo>
                    <a:pt x="169" y="444"/>
                  </a:lnTo>
                  <a:lnTo>
                    <a:pt x="179" y="447"/>
                  </a:lnTo>
                  <a:lnTo>
                    <a:pt x="189" y="451"/>
                  </a:lnTo>
                  <a:lnTo>
                    <a:pt x="189" y="491"/>
                  </a:lnTo>
                  <a:lnTo>
                    <a:pt x="190" y="494"/>
                  </a:lnTo>
                  <a:lnTo>
                    <a:pt x="190" y="497"/>
                  </a:lnTo>
                  <a:lnTo>
                    <a:pt x="192" y="499"/>
                  </a:lnTo>
                  <a:lnTo>
                    <a:pt x="193" y="501"/>
                  </a:lnTo>
                  <a:lnTo>
                    <a:pt x="195" y="504"/>
                  </a:lnTo>
                  <a:lnTo>
                    <a:pt x="198" y="505"/>
                  </a:lnTo>
                  <a:lnTo>
                    <a:pt x="200" y="506"/>
                  </a:lnTo>
                  <a:lnTo>
                    <a:pt x="204" y="506"/>
                  </a:lnTo>
                  <a:lnTo>
                    <a:pt x="317" y="506"/>
                  </a:lnTo>
                  <a:lnTo>
                    <a:pt x="320" y="506"/>
                  </a:lnTo>
                  <a:lnTo>
                    <a:pt x="322" y="505"/>
                  </a:lnTo>
                  <a:lnTo>
                    <a:pt x="326" y="504"/>
                  </a:lnTo>
                  <a:lnTo>
                    <a:pt x="328" y="501"/>
                  </a:lnTo>
                  <a:lnTo>
                    <a:pt x="330" y="499"/>
                  </a:lnTo>
                  <a:lnTo>
                    <a:pt x="331" y="497"/>
                  </a:lnTo>
                  <a:lnTo>
                    <a:pt x="332" y="494"/>
                  </a:lnTo>
                  <a:lnTo>
                    <a:pt x="332" y="491"/>
                  </a:lnTo>
                  <a:lnTo>
                    <a:pt x="332" y="448"/>
                  </a:lnTo>
                  <a:lnTo>
                    <a:pt x="348" y="439"/>
                  </a:lnTo>
                  <a:lnTo>
                    <a:pt x="363" y="432"/>
                  </a:lnTo>
                  <a:lnTo>
                    <a:pt x="376" y="424"/>
                  </a:lnTo>
                  <a:lnTo>
                    <a:pt x="387" y="416"/>
                  </a:lnTo>
                  <a:lnTo>
                    <a:pt x="433" y="444"/>
                  </a:lnTo>
                  <a:lnTo>
                    <a:pt x="435" y="445"/>
                  </a:lnTo>
                  <a:lnTo>
                    <a:pt x="438" y="445"/>
                  </a:lnTo>
                  <a:lnTo>
                    <a:pt x="441" y="446"/>
                  </a:lnTo>
                  <a:lnTo>
                    <a:pt x="443" y="445"/>
                  </a:lnTo>
                  <a:lnTo>
                    <a:pt x="447" y="444"/>
                  </a:lnTo>
                  <a:lnTo>
                    <a:pt x="449" y="443"/>
                  </a:lnTo>
                  <a:lnTo>
                    <a:pt x="451" y="440"/>
                  </a:lnTo>
                  <a:lnTo>
                    <a:pt x="453" y="437"/>
                  </a:lnTo>
                  <a:lnTo>
                    <a:pt x="510" y="340"/>
                  </a:lnTo>
                  <a:lnTo>
                    <a:pt x="511" y="338"/>
                  </a:lnTo>
                  <a:lnTo>
                    <a:pt x="512" y="335"/>
                  </a:lnTo>
                  <a:lnTo>
                    <a:pt x="512" y="331"/>
                  </a:lnTo>
                  <a:lnTo>
                    <a:pt x="511" y="328"/>
                  </a:lnTo>
                  <a:lnTo>
                    <a:pt x="510" y="326"/>
                  </a:lnTo>
                  <a:lnTo>
                    <a:pt x="509" y="323"/>
                  </a:lnTo>
                  <a:lnTo>
                    <a:pt x="506" y="321"/>
                  </a:lnTo>
                  <a:lnTo>
                    <a:pt x="504" y="3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4358">
              <a:extLst>
                <a:ext uri="{FF2B5EF4-FFF2-40B4-BE49-F238E27FC236}">
                  <a16:creationId xmlns:a16="http://schemas.microsoft.com/office/drawing/2014/main" id="{BDA79842-74B3-408C-902C-01C590BFE94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48500" y="1509713"/>
              <a:ext cx="161925" cy="161925"/>
            </a:xfrm>
            <a:custGeom>
              <a:avLst/>
              <a:gdLst>
                <a:gd name="T0" fmla="*/ 229 w 511"/>
                <a:gd name="T1" fmla="*/ 335 h 509"/>
                <a:gd name="T2" fmla="*/ 198 w 511"/>
                <a:gd name="T3" fmla="*/ 319 h 509"/>
                <a:gd name="T4" fmla="*/ 176 w 511"/>
                <a:gd name="T5" fmla="*/ 292 h 509"/>
                <a:gd name="T6" fmla="*/ 166 w 511"/>
                <a:gd name="T7" fmla="*/ 258 h 509"/>
                <a:gd name="T8" fmla="*/ 169 w 511"/>
                <a:gd name="T9" fmla="*/ 223 h 509"/>
                <a:gd name="T10" fmla="*/ 186 w 511"/>
                <a:gd name="T11" fmla="*/ 191 h 509"/>
                <a:gd name="T12" fmla="*/ 213 w 511"/>
                <a:gd name="T13" fmla="*/ 169 h 509"/>
                <a:gd name="T14" fmla="*/ 246 w 511"/>
                <a:gd name="T15" fmla="*/ 158 h 509"/>
                <a:gd name="T16" fmla="*/ 282 w 511"/>
                <a:gd name="T17" fmla="*/ 163 h 509"/>
                <a:gd name="T18" fmla="*/ 313 w 511"/>
                <a:gd name="T19" fmla="*/ 179 h 509"/>
                <a:gd name="T20" fmla="*/ 335 w 511"/>
                <a:gd name="T21" fmla="*/ 206 h 509"/>
                <a:gd name="T22" fmla="*/ 346 w 511"/>
                <a:gd name="T23" fmla="*/ 240 h 509"/>
                <a:gd name="T24" fmla="*/ 342 w 511"/>
                <a:gd name="T25" fmla="*/ 276 h 509"/>
                <a:gd name="T26" fmla="*/ 325 w 511"/>
                <a:gd name="T27" fmla="*/ 306 h 509"/>
                <a:gd name="T28" fmla="*/ 298 w 511"/>
                <a:gd name="T29" fmla="*/ 328 h 509"/>
                <a:gd name="T30" fmla="*/ 265 w 511"/>
                <a:gd name="T31" fmla="*/ 338 h 509"/>
                <a:gd name="T32" fmla="*/ 511 w 511"/>
                <a:gd name="T33" fmla="*/ 173 h 509"/>
                <a:gd name="T34" fmla="*/ 450 w 511"/>
                <a:gd name="T35" fmla="*/ 67 h 509"/>
                <a:gd name="T36" fmla="*/ 441 w 511"/>
                <a:gd name="T37" fmla="*/ 63 h 509"/>
                <a:gd name="T38" fmla="*/ 386 w 511"/>
                <a:gd name="T39" fmla="*/ 92 h 509"/>
                <a:gd name="T40" fmla="*/ 332 w 511"/>
                <a:gd name="T41" fmla="*/ 59 h 509"/>
                <a:gd name="T42" fmla="*/ 329 w 511"/>
                <a:gd name="T43" fmla="*/ 6 h 509"/>
                <a:gd name="T44" fmla="*/ 320 w 511"/>
                <a:gd name="T45" fmla="*/ 0 h 509"/>
                <a:gd name="T46" fmla="*/ 198 w 511"/>
                <a:gd name="T47" fmla="*/ 1 h 509"/>
                <a:gd name="T48" fmla="*/ 190 w 511"/>
                <a:gd name="T49" fmla="*/ 9 h 509"/>
                <a:gd name="T50" fmla="*/ 179 w 511"/>
                <a:gd name="T51" fmla="*/ 61 h 509"/>
                <a:gd name="T52" fmla="*/ 141 w 511"/>
                <a:gd name="T53" fmla="*/ 81 h 509"/>
                <a:gd name="T54" fmla="*/ 68 w 511"/>
                <a:gd name="T55" fmla="*/ 63 h 509"/>
                <a:gd name="T56" fmla="*/ 60 w 511"/>
                <a:gd name="T57" fmla="*/ 70 h 509"/>
                <a:gd name="T58" fmla="*/ 1 w 511"/>
                <a:gd name="T59" fmla="*/ 177 h 509"/>
                <a:gd name="T60" fmla="*/ 5 w 511"/>
                <a:gd name="T61" fmla="*/ 186 h 509"/>
                <a:gd name="T62" fmla="*/ 52 w 511"/>
                <a:gd name="T63" fmla="*/ 249 h 509"/>
                <a:gd name="T64" fmla="*/ 5 w 511"/>
                <a:gd name="T65" fmla="*/ 311 h 509"/>
                <a:gd name="T66" fmla="*/ 0 w 511"/>
                <a:gd name="T67" fmla="*/ 322 h 509"/>
                <a:gd name="T68" fmla="*/ 59 w 511"/>
                <a:gd name="T69" fmla="*/ 429 h 509"/>
                <a:gd name="T70" fmla="*/ 74 w 511"/>
                <a:gd name="T71" fmla="*/ 435 h 509"/>
                <a:gd name="T72" fmla="*/ 140 w 511"/>
                <a:gd name="T73" fmla="*/ 416 h 509"/>
                <a:gd name="T74" fmla="*/ 179 w 511"/>
                <a:gd name="T75" fmla="*/ 438 h 509"/>
                <a:gd name="T76" fmla="*/ 190 w 511"/>
                <a:gd name="T77" fmla="*/ 500 h 509"/>
                <a:gd name="T78" fmla="*/ 198 w 511"/>
                <a:gd name="T79" fmla="*/ 508 h 509"/>
                <a:gd name="T80" fmla="*/ 320 w 511"/>
                <a:gd name="T81" fmla="*/ 509 h 509"/>
                <a:gd name="T82" fmla="*/ 329 w 511"/>
                <a:gd name="T83" fmla="*/ 503 h 509"/>
                <a:gd name="T84" fmla="*/ 332 w 511"/>
                <a:gd name="T85" fmla="*/ 439 h 509"/>
                <a:gd name="T86" fmla="*/ 387 w 511"/>
                <a:gd name="T87" fmla="*/ 407 h 509"/>
                <a:gd name="T88" fmla="*/ 441 w 511"/>
                <a:gd name="T89" fmla="*/ 435 h 509"/>
                <a:gd name="T90" fmla="*/ 450 w 511"/>
                <a:gd name="T91" fmla="*/ 431 h 509"/>
                <a:gd name="T92" fmla="*/ 511 w 511"/>
                <a:gd name="T93" fmla="*/ 324 h 509"/>
                <a:gd name="T94" fmla="*/ 504 w 511"/>
                <a:gd name="T95" fmla="*/ 309 h 509"/>
                <a:gd name="T96" fmla="*/ 459 w 511"/>
                <a:gd name="T97" fmla="*/ 233 h 509"/>
                <a:gd name="T98" fmla="*/ 508 w 511"/>
                <a:gd name="T99" fmla="*/ 184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11" h="509">
                  <a:moveTo>
                    <a:pt x="256" y="339"/>
                  </a:moveTo>
                  <a:lnTo>
                    <a:pt x="246" y="338"/>
                  </a:lnTo>
                  <a:lnTo>
                    <a:pt x="237" y="337"/>
                  </a:lnTo>
                  <a:lnTo>
                    <a:pt x="229" y="335"/>
                  </a:lnTo>
                  <a:lnTo>
                    <a:pt x="220" y="332"/>
                  </a:lnTo>
                  <a:lnTo>
                    <a:pt x="213" y="328"/>
                  </a:lnTo>
                  <a:lnTo>
                    <a:pt x="205" y="323"/>
                  </a:lnTo>
                  <a:lnTo>
                    <a:pt x="198" y="319"/>
                  </a:lnTo>
                  <a:lnTo>
                    <a:pt x="191" y="312"/>
                  </a:lnTo>
                  <a:lnTo>
                    <a:pt x="186" y="306"/>
                  </a:lnTo>
                  <a:lnTo>
                    <a:pt x="181" y="300"/>
                  </a:lnTo>
                  <a:lnTo>
                    <a:pt x="176" y="292"/>
                  </a:lnTo>
                  <a:lnTo>
                    <a:pt x="172" y="284"/>
                  </a:lnTo>
                  <a:lnTo>
                    <a:pt x="169" y="276"/>
                  </a:lnTo>
                  <a:lnTo>
                    <a:pt x="167" y="267"/>
                  </a:lnTo>
                  <a:lnTo>
                    <a:pt x="166" y="258"/>
                  </a:lnTo>
                  <a:lnTo>
                    <a:pt x="166" y="249"/>
                  </a:lnTo>
                  <a:lnTo>
                    <a:pt x="166" y="240"/>
                  </a:lnTo>
                  <a:lnTo>
                    <a:pt x="167" y="231"/>
                  </a:lnTo>
                  <a:lnTo>
                    <a:pt x="169" y="223"/>
                  </a:lnTo>
                  <a:lnTo>
                    <a:pt x="172" y="214"/>
                  </a:lnTo>
                  <a:lnTo>
                    <a:pt x="176" y="206"/>
                  </a:lnTo>
                  <a:lnTo>
                    <a:pt x="181" y="199"/>
                  </a:lnTo>
                  <a:lnTo>
                    <a:pt x="186" y="191"/>
                  </a:lnTo>
                  <a:lnTo>
                    <a:pt x="191" y="185"/>
                  </a:lnTo>
                  <a:lnTo>
                    <a:pt x="198" y="179"/>
                  </a:lnTo>
                  <a:lnTo>
                    <a:pt x="205" y="173"/>
                  </a:lnTo>
                  <a:lnTo>
                    <a:pt x="213" y="169"/>
                  </a:lnTo>
                  <a:lnTo>
                    <a:pt x="220" y="165"/>
                  </a:lnTo>
                  <a:lnTo>
                    <a:pt x="229" y="163"/>
                  </a:lnTo>
                  <a:lnTo>
                    <a:pt x="237" y="159"/>
                  </a:lnTo>
                  <a:lnTo>
                    <a:pt x="246" y="158"/>
                  </a:lnTo>
                  <a:lnTo>
                    <a:pt x="256" y="158"/>
                  </a:lnTo>
                  <a:lnTo>
                    <a:pt x="265" y="158"/>
                  </a:lnTo>
                  <a:lnTo>
                    <a:pt x="274" y="159"/>
                  </a:lnTo>
                  <a:lnTo>
                    <a:pt x="282" y="163"/>
                  </a:lnTo>
                  <a:lnTo>
                    <a:pt x="291" y="165"/>
                  </a:lnTo>
                  <a:lnTo>
                    <a:pt x="298" y="169"/>
                  </a:lnTo>
                  <a:lnTo>
                    <a:pt x="306" y="173"/>
                  </a:lnTo>
                  <a:lnTo>
                    <a:pt x="313" y="179"/>
                  </a:lnTo>
                  <a:lnTo>
                    <a:pt x="320" y="185"/>
                  </a:lnTo>
                  <a:lnTo>
                    <a:pt x="325" y="191"/>
                  </a:lnTo>
                  <a:lnTo>
                    <a:pt x="331" y="199"/>
                  </a:lnTo>
                  <a:lnTo>
                    <a:pt x="335" y="206"/>
                  </a:lnTo>
                  <a:lnTo>
                    <a:pt x="339" y="214"/>
                  </a:lnTo>
                  <a:lnTo>
                    <a:pt x="342" y="223"/>
                  </a:lnTo>
                  <a:lnTo>
                    <a:pt x="344" y="231"/>
                  </a:lnTo>
                  <a:lnTo>
                    <a:pt x="346" y="240"/>
                  </a:lnTo>
                  <a:lnTo>
                    <a:pt x="347" y="249"/>
                  </a:lnTo>
                  <a:lnTo>
                    <a:pt x="346" y="258"/>
                  </a:lnTo>
                  <a:lnTo>
                    <a:pt x="344" y="267"/>
                  </a:lnTo>
                  <a:lnTo>
                    <a:pt x="342" y="276"/>
                  </a:lnTo>
                  <a:lnTo>
                    <a:pt x="339" y="284"/>
                  </a:lnTo>
                  <a:lnTo>
                    <a:pt x="335" y="292"/>
                  </a:lnTo>
                  <a:lnTo>
                    <a:pt x="331" y="300"/>
                  </a:lnTo>
                  <a:lnTo>
                    <a:pt x="325" y="306"/>
                  </a:lnTo>
                  <a:lnTo>
                    <a:pt x="320" y="312"/>
                  </a:lnTo>
                  <a:lnTo>
                    <a:pt x="313" y="319"/>
                  </a:lnTo>
                  <a:lnTo>
                    <a:pt x="306" y="323"/>
                  </a:lnTo>
                  <a:lnTo>
                    <a:pt x="298" y="328"/>
                  </a:lnTo>
                  <a:lnTo>
                    <a:pt x="291" y="332"/>
                  </a:lnTo>
                  <a:lnTo>
                    <a:pt x="282" y="335"/>
                  </a:lnTo>
                  <a:lnTo>
                    <a:pt x="274" y="337"/>
                  </a:lnTo>
                  <a:lnTo>
                    <a:pt x="265" y="338"/>
                  </a:lnTo>
                  <a:lnTo>
                    <a:pt x="256" y="339"/>
                  </a:lnTo>
                  <a:close/>
                  <a:moveTo>
                    <a:pt x="510" y="179"/>
                  </a:moveTo>
                  <a:lnTo>
                    <a:pt x="511" y="177"/>
                  </a:lnTo>
                  <a:lnTo>
                    <a:pt x="511" y="173"/>
                  </a:lnTo>
                  <a:lnTo>
                    <a:pt x="510" y="171"/>
                  </a:lnTo>
                  <a:lnTo>
                    <a:pt x="509" y="168"/>
                  </a:lnTo>
                  <a:lnTo>
                    <a:pt x="453" y="70"/>
                  </a:lnTo>
                  <a:lnTo>
                    <a:pt x="450" y="67"/>
                  </a:lnTo>
                  <a:lnTo>
                    <a:pt x="448" y="65"/>
                  </a:lnTo>
                  <a:lnTo>
                    <a:pt x="446" y="64"/>
                  </a:lnTo>
                  <a:lnTo>
                    <a:pt x="443" y="64"/>
                  </a:lnTo>
                  <a:lnTo>
                    <a:pt x="441" y="63"/>
                  </a:lnTo>
                  <a:lnTo>
                    <a:pt x="438" y="63"/>
                  </a:lnTo>
                  <a:lnTo>
                    <a:pt x="434" y="63"/>
                  </a:lnTo>
                  <a:lnTo>
                    <a:pt x="432" y="65"/>
                  </a:lnTo>
                  <a:lnTo>
                    <a:pt x="386" y="92"/>
                  </a:lnTo>
                  <a:lnTo>
                    <a:pt x="375" y="83"/>
                  </a:lnTo>
                  <a:lnTo>
                    <a:pt x="363" y="75"/>
                  </a:lnTo>
                  <a:lnTo>
                    <a:pt x="348" y="67"/>
                  </a:lnTo>
                  <a:lnTo>
                    <a:pt x="332" y="59"/>
                  </a:lnTo>
                  <a:lnTo>
                    <a:pt x="332" y="14"/>
                  </a:lnTo>
                  <a:lnTo>
                    <a:pt x="332" y="12"/>
                  </a:lnTo>
                  <a:lnTo>
                    <a:pt x="331" y="9"/>
                  </a:lnTo>
                  <a:lnTo>
                    <a:pt x="329" y="6"/>
                  </a:lnTo>
                  <a:lnTo>
                    <a:pt x="327" y="4"/>
                  </a:lnTo>
                  <a:lnTo>
                    <a:pt x="325" y="2"/>
                  </a:lnTo>
                  <a:lnTo>
                    <a:pt x="323" y="1"/>
                  </a:lnTo>
                  <a:lnTo>
                    <a:pt x="320" y="0"/>
                  </a:lnTo>
                  <a:lnTo>
                    <a:pt x="317" y="0"/>
                  </a:lnTo>
                  <a:lnTo>
                    <a:pt x="203" y="0"/>
                  </a:lnTo>
                  <a:lnTo>
                    <a:pt x="201" y="0"/>
                  </a:lnTo>
                  <a:lnTo>
                    <a:pt x="198" y="1"/>
                  </a:lnTo>
                  <a:lnTo>
                    <a:pt x="196" y="2"/>
                  </a:lnTo>
                  <a:lnTo>
                    <a:pt x="194" y="4"/>
                  </a:lnTo>
                  <a:lnTo>
                    <a:pt x="191" y="6"/>
                  </a:lnTo>
                  <a:lnTo>
                    <a:pt x="190" y="9"/>
                  </a:lnTo>
                  <a:lnTo>
                    <a:pt x="189" y="12"/>
                  </a:lnTo>
                  <a:lnTo>
                    <a:pt x="188" y="14"/>
                  </a:lnTo>
                  <a:lnTo>
                    <a:pt x="188" y="58"/>
                  </a:lnTo>
                  <a:lnTo>
                    <a:pt x="179" y="61"/>
                  </a:lnTo>
                  <a:lnTo>
                    <a:pt x="170" y="64"/>
                  </a:lnTo>
                  <a:lnTo>
                    <a:pt x="161" y="68"/>
                  </a:lnTo>
                  <a:lnTo>
                    <a:pt x="154" y="72"/>
                  </a:lnTo>
                  <a:lnTo>
                    <a:pt x="141" y="81"/>
                  </a:lnTo>
                  <a:lnTo>
                    <a:pt x="128" y="92"/>
                  </a:lnTo>
                  <a:lnTo>
                    <a:pt x="80" y="64"/>
                  </a:lnTo>
                  <a:lnTo>
                    <a:pt x="75" y="62"/>
                  </a:lnTo>
                  <a:lnTo>
                    <a:pt x="68" y="63"/>
                  </a:lnTo>
                  <a:lnTo>
                    <a:pt x="66" y="64"/>
                  </a:lnTo>
                  <a:lnTo>
                    <a:pt x="64" y="65"/>
                  </a:lnTo>
                  <a:lnTo>
                    <a:pt x="62" y="67"/>
                  </a:lnTo>
                  <a:lnTo>
                    <a:pt x="60" y="70"/>
                  </a:lnTo>
                  <a:lnTo>
                    <a:pt x="3" y="168"/>
                  </a:lnTo>
                  <a:lnTo>
                    <a:pt x="2" y="171"/>
                  </a:lnTo>
                  <a:lnTo>
                    <a:pt x="1" y="173"/>
                  </a:lnTo>
                  <a:lnTo>
                    <a:pt x="1" y="177"/>
                  </a:lnTo>
                  <a:lnTo>
                    <a:pt x="1" y="179"/>
                  </a:lnTo>
                  <a:lnTo>
                    <a:pt x="2" y="182"/>
                  </a:lnTo>
                  <a:lnTo>
                    <a:pt x="4" y="184"/>
                  </a:lnTo>
                  <a:lnTo>
                    <a:pt x="5" y="186"/>
                  </a:lnTo>
                  <a:lnTo>
                    <a:pt x="8" y="188"/>
                  </a:lnTo>
                  <a:lnTo>
                    <a:pt x="56" y="216"/>
                  </a:lnTo>
                  <a:lnTo>
                    <a:pt x="53" y="233"/>
                  </a:lnTo>
                  <a:lnTo>
                    <a:pt x="52" y="249"/>
                  </a:lnTo>
                  <a:lnTo>
                    <a:pt x="53" y="265"/>
                  </a:lnTo>
                  <a:lnTo>
                    <a:pt x="56" y="282"/>
                  </a:lnTo>
                  <a:lnTo>
                    <a:pt x="7" y="309"/>
                  </a:lnTo>
                  <a:lnTo>
                    <a:pt x="5" y="311"/>
                  </a:lnTo>
                  <a:lnTo>
                    <a:pt x="3" y="313"/>
                  </a:lnTo>
                  <a:lnTo>
                    <a:pt x="2" y="317"/>
                  </a:lnTo>
                  <a:lnTo>
                    <a:pt x="1" y="320"/>
                  </a:lnTo>
                  <a:lnTo>
                    <a:pt x="0" y="322"/>
                  </a:lnTo>
                  <a:lnTo>
                    <a:pt x="0" y="324"/>
                  </a:lnTo>
                  <a:lnTo>
                    <a:pt x="1" y="327"/>
                  </a:lnTo>
                  <a:lnTo>
                    <a:pt x="2" y="330"/>
                  </a:lnTo>
                  <a:lnTo>
                    <a:pt x="59" y="429"/>
                  </a:lnTo>
                  <a:lnTo>
                    <a:pt x="63" y="432"/>
                  </a:lnTo>
                  <a:lnTo>
                    <a:pt x="67" y="434"/>
                  </a:lnTo>
                  <a:lnTo>
                    <a:pt x="71" y="435"/>
                  </a:lnTo>
                  <a:lnTo>
                    <a:pt x="74" y="435"/>
                  </a:lnTo>
                  <a:lnTo>
                    <a:pt x="76" y="434"/>
                  </a:lnTo>
                  <a:lnTo>
                    <a:pt x="79" y="433"/>
                  </a:lnTo>
                  <a:lnTo>
                    <a:pt x="128" y="407"/>
                  </a:lnTo>
                  <a:lnTo>
                    <a:pt x="140" y="416"/>
                  </a:lnTo>
                  <a:lnTo>
                    <a:pt x="154" y="426"/>
                  </a:lnTo>
                  <a:lnTo>
                    <a:pt x="161" y="430"/>
                  </a:lnTo>
                  <a:lnTo>
                    <a:pt x="169" y="434"/>
                  </a:lnTo>
                  <a:lnTo>
                    <a:pt x="179" y="438"/>
                  </a:lnTo>
                  <a:lnTo>
                    <a:pt x="188" y="441"/>
                  </a:lnTo>
                  <a:lnTo>
                    <a:pt x="188" y="494"/>
                  </a:lnTo>
                  <a:lnTo>
                    <a:pt x="189" y="497"/>
                  </a:lnTo>
                  <a:lnTo>
                    <a:pt x="190" y="500"/>
                  </a:lnTo>
                  <a:lnTo>
                    <a:pt x="191" y="503"/>
                  </a:lnTo>
                  <a:lnTo>
                    <a:pt x="194" y="505"/>
                  </a:lnTo>
                  <a:lnTo>
                    <a:pt x="196" y="507"/>
                  </a:lnTo>
                  <a:lnTo>
                    <a:pt x="198" y="508"/>
                  </a:lnTo>
                  <a:lnTo>
                    <a:pt x="201" y="509"/>
                  </a:lnTo>
                  <a:lnTo>
                    <a:pt x="203" y="509"/>
                  </a:lnTo>
                  <a:lnTo>
                    <a:pt x="317" y="509"/>
                  </a:lnTo>
                  <a:lnTo>
                    <a:pt x="320" y="509"/>
                  </a:lnTo>
                  <a:lnTo>
                    <a:pt x="323" y="508"/>
                  </a:lnTo>
                  <a:lnTo>
                    <a:pt x="325" y="507"/>
                  </a:lnTo>
                  <a:lnTo>
                    <a:pt x="327" y="505"/>
                  </a:lnTo>
                  <a:lnTo>
                    <a:pt x="329" y="503"/>
                  </a:lnTo>
                  <a:lnTo>
                    <a:pt x="331" y="500"/>
                  </a:lnTo>
                  <a:lnTo>
                    <a:pt x="332" y="497"/>
                  </a:lnTo>
                  <a:lnTo>
                    <a:pt x="332" y="494"/>
                  </a:lnTo>
                  <a:lnTo>
                    <a:pt x="332" y="439"/>
                  </a:lnTo>
                  <a:lnTo>
                    <a:pt x="348" y="431"/>
                  </a:lnTo>
                  <a:lnTo>
                    <a:pt x="363" y="423"/>
                  </a:lnTo>
                  <a:lnTo>
                    <a:pt x="375" y="414"/>
                  </a:lnTo>
                  <a:lnTo>
                    <a:pt x="387" y="407"/>
                  </a:lnTo>
                  <a:lnTo>
                    <a:pt x="432" y="433"/>
                  </a:lnTo>
                  <a:lnTo>
                    <a:pt x="434" y="434"/>
                  </a:lnTo>
                  <a:lnTo>
                    <a:pt x="438" y="435"/>
                  </a:lnTo>
                  <a:lnTo>
                    <a:pt x="441" y="435"/>
                  </a:lnTo>
                  <a:lnTo>
                    <a:pt x="443" y="434"/>
                  </a:lnTo>
                  <a:lnTo>
                    <a:pt x="446" y="434"/>
                  </a:lnTo>
                  <a:lnTo>
                    <a:pt x="448" y="432"/>
                  </a:lnTo>
                  <a:lnTo>
                    <a:pt x="450" y="431"/>
                  </a:lnTo>
                  <a:lnTo>
                    <a:pt x="453" y="429"/>
                  </a:lnTo>
                  <a:lnTo>
                    <a:pt x="509" y="330"/>
                  </a:lnTo>
                  <a:lnTo>
                    <a:pt x="510" y="327"/>
                  </a:lnTo>
                  <a:lnTo>
                    <a:pt x="511" y="324"/>
                  </a:lnTo>
                  <a:lnTo>
                    <a:pt x="511" y="322"/>
                  </a:lnTo>
                  <a:lnTo>
                    <a:pt x="510" y="320"/>
                  </a:lnTo>
                  <a:lnTo>
                    <a:pt x="508" y="313"/>
                  </a:lnTo>
                  <a:lnTo>
                    <a:pt x="504" y="309"/>
                  </a:lnTo>
                  <a:lnTo>
                    <a:pt x="457" y="282"/>
                  </a:lnTo>
                  <a:lnTo>
                    <a:pt x="459" y="265"/>
                  </a:lnTo>
                  <a:lnTo>
                    <a:pt x="459" y="249"/>
                  </a:lnTo>
                  <a:lnTo>
                    <a:pt x="459" y="233"/>
                  </a:lnTo>
                  <a:lnTo>
                    <a:pt x="457" y="216"/>
                  </a:lnTo>
                  <a:lnTo>
                    <a:pt x="504" y="188"/>
                  </a:lnTo>
                  <a:lnTo>
                    <a:pt x="506" y="186"/>
                  </a:lnTo>
                  <a:lnTo>
                    <a:pt x="508" y="184"/>
                  </a:lnTo>
                  <a:lnTo>
                    <a:pt x="509" y="182"/>
                  </a:lnTo>
                  <a:lnTo>
                    <a:pt x="510" y="1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91491187-B90A-47A4-B475-8A1C2C88C9F2}"/>
              </a:ext>
            </a:extLst>
          </p:cNvPr>
          <p:cNvGrpSpPr/>
          <p:nvPr/>
        </p:nvGrpSpPr>
        <p:grpSpPr>
          <a:xfrm>
            <a:off x="2645108" y="5273810"/>
            <a:ext cx="380334" cy="221862"/>
            <a:chOff x="8161338" y="2565400"/>
            <a:chExt cx="285750" cy="166688"/>
          </a:xfrm>
          <a:solidFill>
            <a:schemeClr val="accent2"/>
          </a:solidFill>
        </p:grpSpPr>
        <p:sp>
          <p:nvSpPr>
            <p:cNvPr id="51" name="Freeform 3857">
              <a:extLst>
                <a:ext uri="{FF2B5EF4-FFF2-40B4-BE49-F238E27FC236}">
                  <a16:creationId xmlns:a16="http://schemas.microsoft.com/office/drawing/2014/main" id="{1A0153D9-D09D-49CB-959A-BBC023F731B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61350" y="2603500"/>
              <a:ext cx="85725" cy="85725"/>
            </a:xfrm>
            <a:custGeom>
              <a:avLst/>
              <a:gdLst>
                <a:gd name="T0" fmla="*/ 108 w 270"/>
                <a:gd name="T1" fmla="*/ 221 h 270"/>
                <a:gd name="T2" fmla="*/ 78 w 270"/>
                <a:gd name="T3" fmla="*/ 204 h 270"/>
                <a:gd name="T4" fmla="*/ 56 w 270"/>
                <a:gd name="T5" fmla="*/ 178 h 270"/>
                <a:gd name="T6" fmla="*/ 45 w 270"/>
                <a:gd name="T7" fmla="*/ 144 h 270"/>
                <a:gd name="T8" fmla="*/ 47 w 270"/>
                <a:gd name="T9" fmla="*/ 126 h 270"/>
                <a:gd name="T10" fmla="*/ 57 w 270"/>
                <a:gd name="T11" fmla="*/ 120 h 270"/>
                <a:gd name="T12" fmla="*/ 69 w 270"/>
                <a:gd name="T13" fmla="*/ 123 h 270"/>
                <a:gd name="T14" fmla="*/ 75 w 270"/>
                <a:gd name="T15" fmla="*/ 132 h 270"/>
                <a:gd name="T16" fmla="*/ 78 w 270"/>
                <a:gd name="T17" fmla="*/ 153 h 270"/>
                <a:gd name="T18" fmla="*/ 89 w 270"/>
                <a:gd name="T19" fmla="*/ 173 h 270"/>
                <a:gd name="T20" fmla="*/ 106 w 270"/>
                <a:gd name="T21" fmla="*/ 187 h 270"/>
                <a:gd name="T22" fmla="*/ 129 w 270"/>
                <a:gd name="T23" fmla="*/ 195 h 270"/>
                <a:gd name="T24" fmla="*/ 153 w 270"/>
                <a:gd name="T25" fmla="*/ 193 h 270"/>
                <a:gd name="T26" fmla="*/ 174 w 270"/>
                <a:gd name="T27" fmla="*/ 181 h 270"/>
                <a:gd name="T28" fmla="*/ 188 w 270"/>
                <a:gd name="T29" fmla="*/ 164 h 270"/>
                <a:gd name="T30" fmla="*/ 195 w 270"/>
                <a:gd name="T31" fmla="*/ 141 h 270"/>
                <a:gd name="T32" fmla="*/ 193 w 270"/>
                <a:gd name="T33" fmla="*/ 118 h 270"/>
                <a:gd name="T34" fmla="*/ 181 w 270"/>
                <a:gd name="T35" fmla="*/ 97 h 270"/>
                <a:gd name="T36" fmla="*/ 164 w 270"/>
                <a:gd name="T37" fmla="*/ 82 h 270"/>
                <a:gd name="T38" fmla="*/ 142 w 270"/>
                <a:gd name="T39" fmla="*/ 75 h 270"/>
                <a:gd name="T40" fmla="*/ 127 w 270"/>
                <a:gd name="T41" fmla="*/ 73 h 270"/>
                <a:gd name="T42" fmla="*/ 120 w 270"/>
                <a:gd name="T43" fmla="*/ 63 h 270"/>
                <a:gd name="T44" fmla="*/ 123 w 270"/>
                <a:gd name="T45" fmla="*/ 51 h 270"/>
                <a:gd name="T46" fmla="*/ 132 w 270"/>
                <a:gd name="T47" fmla="*/ 45 h 270"/>
                <a:gd name="T48" fmla="*/ 162 w 270"/>
                <a:gd name="T49" fmla="*/ 49 h 270"/>
                <a:gd name="T50" fmla="*/ 193 w 270"/>
                <a:gd name="T51" fmla="*/ 65 h 270"/>
                <a:gd name="T52" fmla="*/ 215 w 270"/>
                <a:gd name="T53" fmla="*/ 92 h 270"/>
                <a:gd name="T54" fmla="*/ 225 w 270"/>
                <a:gd name="T55" fmla="*/ 126 h 270"/>
                <a:gd name="T56" fmla="*/ 221 w 270"/>
                <a:gd name="T57" fmla="*/ 162 h 270"/>
                <a:gd name="T58" fmla="*/ 205 w 270"/>
                <a:gd name="T59" fmla="*/ 193 h 270"/>
                <a:gd name="T60" fmla="*/ 178 w 270"/>
                <a:gd name="T61" fmla="*/ 214 h 270"/>
                <a:gd name="T62" fmla="*/ 145 w 270"/>
                <a:gd name="T63" fmla="*/ 225 h 270"/>
                <a:gd name="T64" fmla="*/ 108 w 270"/>
                <a:gd name="T65" fmla="*/ 3 h 270"/>
                <a:gd name="T66" fmla="*/ 60 w 270"/>
                <a:gd name="T67" fmla="*/ 23 h 270"/>
                <a:gd name="T68" fmla="*/ 24 w 270"/>
                <a:gd name="T69" fmla="*/ 60 h 270"/>
                <a:gd name="T70" fmla="*/ 3 w 270"/>
                <a:gd name="T71" fmla="*/ 108 h 270"/>
                <a:gd name="T72" fmla="*/ 3 w 270"/>
                <a:gd name="T73" fmla="*/ 163 h 270"/>
                <a:gd name="T74" fmla="*/ 24 w 270"/>
                <a:gd name="T75" fmla="*/ 211 h 270"/>
                <a:gd name="T76" fmla="*/ 60 w 270"/>
                <a:gd name="T77" fmla="*/ 247 h 270"/>
                <a:gd name="T78" fmla="*/ 108 w 270"/>
                <a:gd name="T79" fmla="*/ 268 h 270"/>
                <a:gd name="T80" fmla="*/ 163 w 270"/>
                <a:gd name="T81" fmla="*/ 268 h 270"/>
                <a:gd name="T82" fmla="*/ 211 w 270"/>
                <a:gd name="T83" fmla="*/ 247 h 270"/>
                <a:gd name="T84" fmla="*/ 248 w 270"/>
                <a:gd name="T85" fmla="*/ 211 h 270"/>
                <a:gd name="T86" fmla="*/ 268 w 270"/>
                <a:gd name="T87" fmla="*/ 163 h 270"/>
                <a:gd name="T88" fmla="*/ 268 w 270"/>
                <a:gd name="T89" fmla="*/ 108 h 270"/>
                <a:gd name="T90" fmla="*/ 248 w 270"/>
                <a:gd name="T91" fmla="*/ 60 h 270"/>
                <a:gd name="T92" fmla="*/ 211 w 270"/>
                <a:gd name="T93" fmla="*/ 23 h 270"/>
                <a:gd name="T94" fmla="*/ 163 w 270"/>
                <a:gd name="T95" fmla="*/ 3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70" h="270">
                  <a:moveTo>
                    <a:pt x="135" y="225"/>
                  </a:moveTo>
                  <a:lnTo>
                    <a:pt x="127" y="225"/>
                  </a:lnTo>
                  <a:lnTo>
                    <a:pt x="117" y="224"/>
                  </a:lnTo>
                  <a:lnTo>
                    <a:pt x="108" y="221"/>
                  </a:lnTo>
                  <a:lnTo>
                    <a:pt x="100" y="218"/>
                  </a:lnTo>
                  <a:lnTo>
                    <a:pt x="92" y="214"/>
                  </a:lnTo>
                  <a:lnTo>
                    <a:pt x="85" y="210"/>
                  </a:lnTo>
                  <a:lnTo>
                    <a:pt x="78" y="204"/>
                  </a:lnTo>
                  <a:lnTo>
                    <a:pt x="72" y="199"/>
                  </a:lnTo>
                  <a:lnTo>
                    <a:pt x="65" y="193"/>
                  </a:lnTo>
                  <a:lnTo>
                    <a:pt x="60" y="185"/>
                  </a:lnTo>
                  <a:lnTo>
                    <a:pt x="56" y="178"/>
                  </a:lnTo>
                  <a:lnTo>
                    <a:pt x="53" y="170"/>
                  </a:lnTo>
                  <a:lnTo>
                    <a:pt x="49" y="162"/>
                  </a:lnTo>
                  <a:lnTo>
                    <a:pt x="47" y="153"/>
                  </a:lnTo>
                  <a:lnTo>
                    <a:pt x="45" y="144"/>
                  </a:lnTo>
                  <a:lnTo>
                    <a:pt x="45" y="135"/>
                  </a:lnTo>
                  <a:lnTo>
                    <a:pt x="45" y="132"/>
                  </a:lnTo>
                  <a:lnTo>
                    <a:pt x="46" y="129"/>
                  </a:lnTo>
                  <a:lnTo>
                    <a:pt x="47" y="126"/>
                  </a:lnTo>
                  <a:lnTo>
                    <a:pt x="49" y="124"/>
                  </a:lnTo>
                  <a:lnTo>
                    <a:pt x="52" y="123"/>
                  </a:lnTo>
                  <a:lnTo>
                    <a:pt x="55" y="121"/>
                  </a:lnTo>
                  <a:lnTo>
                    <a:pt x="57" y="120"/>
                  </a:lnTo>
                  <a:lnTo>
                    <a:pt x="60" y="120"/>
                  </a:lnTo>
                  <a:lnTo>
                    <a:pt x="63" y="120"/>
                  </a:lnTo>
                  <a:lnTo>
                    <a:pt x="67" y="121"/>
                  </a:lnTo>
                  <a:lnTo>
                    <a:pt x="69" y="123"/>
                  </a:lnTo>
                  <a:lnTo>
                    <a:pt x="71" y="124"/>
                  </a:lnTo>
                  <a:lnTo>
                    <a:pt x="73" y="126"/>
                  </a:lnTo>
                  <a:lnTo>
                    <a:pt x="74" y="129"/>
                  </a:lnTo>
                  <a:lnTo>
                    <a:pt x="75" y="132"/>
                  </a:lnTo>
                  <a:lnTo>
                    <a:pt x="75" y="135"/>
                  </a:lnTo>
                  <a:lnTo>
                    <a:pt x="75" y="141"/>
                  </a:lnTo>
                  <a:lnTo>
                    <a:pt x="76" y="147"/>
                  </a:lnTo>
                  <a:lnTo>
                    <a:pt x="78" y="153"/>
                  </a:lnTo>
                  <a:lnTo>
                    <a:pt x="79" y="158"/>
                  </a:lnTo>
                  <a:lnTo>
                    <a:pt x="83" y="164"/>
                  </a:lnTo>
                  <a:lnTo>
                    <a:pt x="86" y="168"/>
                  </a:lnTo>
                  <a:lnTo>
                    <a:pt x="89" y="173"/>
                  </a:lnTo>
                  <a:lnTo>
                    <a:pt x="93" y="178"/>
                  </a:lnTo>
                  <a:lnTo>
                    <a:pt x="97" y="181"/>
                  </a:lnTo>
                  <a:lnTo>
                    <a:pt x="102" y="185"/>
                  </a:lnTo>
                  <a:lnTo>
                    <a:pt x="106" y="187"/>
                  </a:lnTo>
                  <a:lnTo>
                    <a:pt x="112" y="191"/>
                  </a:lnTo>
                  <a:lnTo>
                    <a:pt x="117" y="193"/>
                  </a:lnTo>
                  <a:lnTo>
                    <a:pt x="123" y="194"/>
                  </a:lnTo>
                  <a:lnTo>
                    <a:pt x="129" y="195"/>
                  </a:lnTo>
                  <a:lnTo>
                    <a:pt x="135" y="195"/>
                  </a:lnTo>
                  <a:lnTo>
                    <a:pt x="142" y="195"/>
                  </a:lnTo>
                  <a:lnTo>
                    <a:pt x="147" y="194"/>
                  </a:lnTo>
                  <a:lnTo>
                    <a:pt x="153" y="193"/>
                  </a:lnTo>
                  <a:lnTo>
                    <a:pt x="159" y="191"/>
                  </a:lnTo>
                  <a:lnTo>
                    <a:pt x="164" y="187"/>
                  </a:lnTo>
                  <a:lnTo>
                    <a:pt x="168" y="185"/>
                  </a:lnTo>
                  <a:lnTo>
                    <a:pt x="174" y="181"/>
                  </a:lnTo>
                  <a:lnTo>
                    <a:pt x="178" y="178"/>
                  </a:lnTo>
                  <a:lnTo>
                    <a:pt x="181" y="173"/>
                  </a:lnTo>
                  <a:lnTo>
                    <a:pt x="186" y="169"/>
                  </a:lnTo>
                  <a:lnTo>
                    <a:pt x="188" y="164"/>
                  </a:lnTo>
                  <a:lnTo>
                    <a:pt x="191" y="158"/>
                  </a:lnTo>
                  <a:lnTo>
                    <a:pt x="193" y="153"/>
                  </a:lnTo>
                  <a:lnTo>
                    <a:pt x="194" y="147"/>
                  </a:lnTo>
                  <a:lnTo>
                    <a:pt x="195" y="141"/>
                  </a:lnTo>
                  <a:lnTo>
                    <a:pt x="195" y="135"/>
                  </a:lnTo>
                  <a:lnTo>
                    <a:pt x="195" y="128"/>
                  </a:lnTo>
                  <a:lnTo>
                    <a:pt x="194" y="123"/>
                  </a:lnTo>
                  <a:lnTo>
                    <a:pt x="193" y="118"/>
                  </a:lnTo>
                  <a:lnTo>
                    <a:pt x="191" y="111"/>
                  </a:lnTo>
                  <a:lnTo>
                    <a:pt x="188" y="106"/>
                  </a:lnTo>
                  <a:lnTo>
                    <a:pt x="186" y="102"/>
                  </a:lnTo>
                  <a:lnTo>
                    <a:pt x="181" y="97"/>
                  </a:lnTo>
                  <a:lnTo>
                    <a:pt x="178" y="93"/>
                  </a:lnTo>
                  <a:lnTo>
                    <a:pt x="174" y="89"/>
                  </a:lnTo>
                  <a:lnTo>
                    <a:pt x="168" y="85"/>
                  </a:lnTo>
                  <a:lnTo>
                    <a:pt x="164" y="82"/>
                  </a:lnTo>
                  <a:lnTo>
                    <a:pt x="159" y="80"/>
                  </a:lnTo>
                  <a:lnTo>
                    <a:pt x="153" y="78"/>
                  </a:lnTo>
                  <a:lnTo>
                    <a:pt x="147" y="76"/>
                  </a:lnTo>
                  <a:lnTo>
                    <a:pt x="142" y="75"/>
                  </a:lnTo>
                  <a:lnTo>
                    <a:pt x="135" y="75"/>
                  </a:lnTo>
                  <a:lnTo>
                    <a:pt x="132" y="75"/>
                  </a:lnTo>
                  <a:lnTo>
                    <a:pt x="130" y="74"/>
                  </a:lnTo>
                  <a:lnTo>
                    <a:pt x="127" y="73"/>
                  </a:lnTo>
                  <a:lnTo>
                    <a:pt x="124" y="70"/>
                  </a:lnTo>
                  <a:lnTo>
                    <a:pt x="123" y="68"/>
                  </a:lnTo>
                  <a:lnTo>
                    <a:pt x="121" y="66"/>
                  </a:lnTo>
                  <a:lnTo>
                    <a:pt x="120" y="63"/>
                  </a:lnTo>
                  <a:lnTo>
                    <a:pt x="120" y="60"/>
                  </a:lnTo>
                  <a:lnTo>
                    <a:pt x="120" y="57"/>
                  </a:lnTo>
                  <a:lnTo>
                    <a:pt x="121" y="54"/>
                  </a:lnTo>
                  <a:lnTo>
                    <a:pt x="123" y="51"/>
                  </a:lnTo>
                  <a:lnTo>
                    <a:pt x="124" y="49"/>
                  </a:lnTo>
                  <a:lnTo>
                    <a:pt x="127" y="48"/>
                  </a:lnTo>
                  <a:lnTo>
                    <a:pt x="130" y="46"/>
                  </a:lnTo>
                  <a:lnTo>
                    <a:pt x="132" y="45"/>
                  </a:lnTo>
                  <a:lnTo>
                    <a:pt x="135" y="45"/>
                  </a:lnTo>
                  <a:lnTo>
                    <a:pt x="145" y="46"/>
                  </a:lnTo>
                  <a:lnTo>
                    <a:pt x="153" y="47"/>
                  </a:lnTo>
                  <a:lnTo>
                    <a:pt x="162" y="49"/>
                  </a:lnTo>
                  <a:lnTo>
                    <a:pt x="171" y="52"/>
                  </a:lnTo>
                  <a:lnTo>
                    <a:pt x="178" y="55"/>
                  </a:lnTo>
                  <a:lnTo>
                    <a:pt x="186" y="60"/>
                  </a:lnTo>
                  <a:lnTo>
                    <a:pt x="193" y="65"/>
                  </a:lnTo>
                  <a:lnTo>
                    <a:pt x="200" y="72"/>
                  </a:lnTo>
                  <a:lnTo>
                    <a:pt x="205" y="78"/>
                  </a:lnTo>
                  <a:lnTo>
                    <a:pt x="210" y="84"/>
                  </a:lnTo>
                  <a:lnTo>
                    <a:pt x="215" y="92"/>
                  </a:lnTo>
                  <a:lnTo>
                    <a:pt x="219" y="99"/>
                  </a:lnTo>
                  <a:lnTo>
                    <a:pt x="221" y="108"/>
                  </a:lnTo>
                  <a:lnTo>
                    <a:pt x="223" y="117"/>
                  </a:lnTo>
                  <a:lnTo>
                    <a:pt x="225" y="126"/>
                  </a:lnTo>
                  <a:lnTo>
                    <a:pt x="225" y="135"/>
                  </a:lnTo>
                  <a:lnTo>
                    <a:pt x="225" y="144"/>
                  </a:lnTo>
                  <a:lnTo>
                    <a:pt x="223" y="153"/>
                  </a:lnTo>
                  <a:lnTo>
                    <a:pt x="221" y="162"/>
                  </a:lnTo>
                  <a:lnTo>
                    <a:pt x="219" y="170"/>
                  </a:lnTo>
                  <a:lnTo>
                    <a:pt x="215" y="178"/>
                  </a:lnTo>
                  <a:lnTo>
                    <a:pt x="210" y="185"/>
                  </a:lnTo>
                  <a:lnTo>
                    <a:pt x="205" y="193"/>
                  </a:lnTo>
                  <a:lnTo>
                    <a:pt x="200" y="199"/>
                  </a:lnTo>
                  <a:lnTo>
                    <a:pt x="193" y="204"/>
                  </a:lnTo>
                  <a:lnTo>
                    <a:pt x="186" y="210"/>
                  </a:lnTo>
                  <a:lnTo>
                    <a:pt x="178" y="214"/>
                  </a:lnTo>
                  <a:lnTo>
                    <a:pt x="171" y="218"/>
                  </a:lnTo>
                  <a:lnTo>
                    <a:pt x="162" y="221"/>
                  </a:lnTo>
                  <a:lnTo>
                    <a:pt x="153" y="224"/>
                  </a:lnTo>
                  <a:lnTo>
                    <a:pt x="145" y="225"/>
                  </a:lnTo>
                  <a:lnTo>
                    <a:pt x="135" y="225"/>
                  </a:lnTo>
                  <a:close/>
                  <a:moveTo>
                    <a:pt x="135" y="0"/>
                  </a:moveTo>
                  <a:lnTo>
                    <a:pt x="121" y="1"/>
                  </a:lnTo>
                  <a:lnTo>
                    <a:pt x="108" y="3"/>
                  </a:lnTo>
                  <a:lnTo>
                    <a:pt x="95" y="6"/>
                  </a:lnTo>
                  <a:lnTo>
                    <a:pt x="83" y="10"/>
                  </a:lnTo>
                  <a:lnTo>
                    <a:pt x="71" y="16"/>
                  </a:lnTo>
                  <a:lnTo>
                    <a:pt x="60" y="23"/>
                  </a:lnTo>
                  <a:lnTo>
                    <a:pt x="49" y="31"/>
                  </a:lnTo>
                  <a:lnTo>
                    <a:pt x="40" y="39"/>
                  </a:lnTo>
                  <a:lnTo>
                    <a:pt x="31" y="49"/>
                  </a:lnTo>
                  <a:lnTo>
                    <a:pt x="24" y="60"/>
                  </a:lnTo>
                  <a:lnTo>
                    <a:pt x="16" y="70"/>
                  </a:lnTo>
                  <a:lnTo>
                    <a:pt x="11" y="82"/>
                  </a:lnTo>
                  <a:lnTo>
                    <a:pt x="6" y="95"/>
                  </a:lnTo>
                  <a:lnTo>
                    <a:pt x="3" y="108"/>
                  </a:lnTo>
                  <a:lnTo>
                    <a:pt x="1" y="121"/>
                  </a:lnTo>
                  <a:lnTo>
                    <a:pt x="0" y="135"/>
                  </a:lnTo>
                  <a:lnTo>
                    <a:pt x="1" y="149"/>
                  </a:lnTo>
                  <a:lnTo>
                    <a:pt x="3" y="163"/>
                  </a:lnTo>
                  <a:lnTo>
                    <a:pt x="6" y="176"/>
                  </a:lnTo>
                  <a:lnTo>
                    <a:pt x="11" y="187"/>
                  </a:lnTo>
                  <a:lnTo>
                    <a:pt x="16" y="199"/>
                  </a:lnTo>
                  <a:lnTo>
                    <a:pt x="24" y="211"/>
                  </a:lnTo>
                  <a:lnTo>
                    <a:pt x="31" y="221"/>
                  </a:lnTo>
                  <a:lnTo>
                    <a:pt x="40" y="230"/>
                  </a:lnTo>
                  <a:lnTo>
                    <a:pt x="49" y="239"/>
                  </a:lnTo>
                  <a:lnTo>
                    <a:pt x="60" y="247"/>
                  </a:lnTo>
                  <a:lnTo>
                    <a:pt x="71" y="254"/>
                  </a:lnTo>
                  <a:lnTo>
                    <a:pt x="83" y="259"/>
                  </a:lnTo>
                  <a:lnTo>
                    <a:pt x="95" y="265"/>
                  </a:lnTo>
                  <a:lnTo>
                    <a:pt x="108" y="268"/>
                  </a:lnTo>
                  <a:lnTo>
                    <a:pt x="121" y="270"/>
                  </a:lnTo>
                  <a:lnTo>
                    <a:pt x="135" y="270"/>
                  </a:lnTo>
                  <a:lnTo>
                    <a:pt x="149" y="270"/>
                  </a:lnTo>
                  <a:lnTo>
                    <a:pt x="163" y="268"/>
                  </a:lnTo>
                  <a:lnTo>
                    <a:pt x="176" y="265"/>
                  </a:lnTo>
                  <a:lnTo>
                    <a:pt x="188" y="259"/>
                  </a:lnTo>
                  <a:lnTo>
                    <a:pt x="200" y="254"/>
                  </a:lnTo>
                  <a:lnTo>
                    <a:pt x="211" y="247"/>
                  </a:lnTo>
                  <a:lnTo>
                    <a:pt x="221" y="239"/>
                  </a:lnTo>
                  <a:lnTo>
                    <a:pt x="231" y="230"/>
                  </a:lnTo>
                  <a:lnTo>
                    <a:pt x="239" y="221"/>
                  </a:lnTo>
                  <a:lnTo>
                    <a:pt x="248" y="211"/>
                  </a:lnTo>
                  <a:lnTo>
                    <a:pt x="254" y="199"/>
                  </a:lnTo>
                  <a:lnTo>
                    <a:pt x="260" y="187"/>
                  </a:lnTo>
                  <a:lnTo>
                    <a:pt x="265" y="176"/>
                  </a:lnTo>
                  <a:lnTo>
                    <a:pt x="268" y="163"/>
                  </a:lnTo>
                  <a:lnTo>
                    <a:pt x="270" y="149"/>
                  </a:lnTo>
                  <a:lnTo>
                    <a:pt x="270" y="135"/>
                  </a:lnTo>
                  <a:lnTo>
                    <a:pt x="270" y="121"/>
                  </a:lnTo>
                  <a:lnTo>
                    <a:pt x="268" y="108"/>
                  </a:lnTo>
                  <a:lnTo>
                    <a:pt x="265" y="95"/>
                  </a:lnTo>
                  <a:lnTo>
                    <a:pt x="260" y="82"/>
                  </a:lnTo>
                  <a:lnTo>
                    <a:pt x="254" y="70"/>
                  </a:lnTo>
                  <a:lnTo>
                    <a:pt x="248" y="60"/>
                  </a:lnTo>
                  <a:lnTo>
                    <a:pt x="239" y="49"/>
                  </a:lnTo>
                  <a:lnTo>
                    <a:pt x="231" y="39"/>
                  </a:lnTo>
                  <a:lnTo>
                    <a:pt x="221" y="31"/>
                  </a:lnTo>
                  <a:lnTo>
                    <a:pt x="211" y="23"/>
                  </a:lnTo>
                  <a:lnTo>
                    <a:pt x="200" y="16"/>
                  </a:lnTo>
                  <a:lnTo>
                    <a:pt x="188" y="10"/>
                  </a:lnTo>
                  <a:lnTo>
                    <a:pt x="176" y="6"/>
                  </a:lnTo>
                  <a:lnTo>
                    <a:pt x="163" y="3"/>
                  </a:lnTo>
                  <a:lnTo>
                    <a:pt x="149" y="1"/>
                  </a:lnTo>
                  <a:lnTo>
                    <a:pt x="135" y="0"/>
                  </a:lnTo>
                  <a:lnTo>
                    <a:pt x="13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3858">
              <a:extLst>
                <a:ext uri="{FF2B5EF4-FFF2-40B4-BE49-F238E27FC236}">
                  <a16:creationId xmlns:a16="http://schemas.microsoft.com/office/drawing/2014/main" id="{F0B340F7-E157-49B9-B324-D5EF24F1C6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61338" y="2565400"/>
              <a:ext cx="285750" cy="166688"/>
            </a:xfrm>
            <a:custGeom>
              <a:avLst/>
              <a:gdLst>
                <a:gd name="T0" fmla="*/ 417 w 901"/>
                <a:gd name="T1" fmla="*/ 417 h 525"/>
                <a:gd name="T2" fmla="*/ 372 w 901"/>
                <a:gd name="T3" fmla="*/ 401 h 525"/>
                <a:gd name="T4" fmla="*/ 333 w 901"/>
                <a:gd name="T5" fmla="*/ 372 h 525"/>
                <a:gd name="T6" fmla="*/ 305 w 901"/>
                <a:gd name="T7" fmla="*/ 334 h 525"/>
                <a:gd name="T8" fmla="*/ 288 w 901"/>
                <a:gd name="T9" fmla="*/ 288 h 525"/>
                <a:gd name="T10" fmla="*/ 286 w 901"/>
                <a:gd name="T11" fmla="*/ 238 h 525"/>
                <a:gd name="T12" fmla="*/ 298 w 901"/>
                <a:gd name="T13" fmla="*/ 190 h 525"/>
                <a:gd name="T14" fmla="*/ 323 w 901"/>
                <a:gd name="T15" fmla="*/ 150 h 525"/>
                <a:gd name="T16" fmla="*/ 358 w 901"/>
                <a:gd name="T17" fmla="*/ 118 h 525"/>
                <a:gd name="T18" fmla="*/ 401 w 901"/>
                <a:gd name="T19" fmla="*/ 97 h 525"/>
                <a:gd name="T20" fmla="*/ 450 w 901"/>
                <a:gd name="T21" fmla="*/ 90 h 525"/>
                <a:gd name="T22" fmla="*/ 499 w 901"/>
                <a:gd name="T23" fmla="*/ 97 h 525"/>
                <a:gd name="T24" fmla="*/ 542 w 901"/>
                <a:gd name="T25" fmla="*/ 118 h 525"/>
                <a:gd name="T26" fmla="*/ 578 w 901"/>
                <a:gd name="T27" fmla="*/ 150 h 525"/>
                <a:gd name="T28" fmla="*/ 602 w 901"/>
                <a:gd name="T29" fmla="*/ 190 h 525"/>
                <a:gd name="T30" fmla="*/ 614 w 901"/>
                <a:gd name="T31" fmla="*/ 238 h 525"/>
                <a:gd name="T32" fmla="*/ 612 w 901"/>
                <a:gd name="T33" fmla="*/ 288 h 525"/>
                <a:gd name="T34" fmla="*/ 596 w 901"/>
                <a:gd name="T35" fmla="*/ 334 h 525"/>
                <a:gd name="T36" fmla="*/ 567 w 901"/>
                <a:gd name="T37" fmla="*/ 372 h 525"/>
                <a:gd name="T38" fmla="*/ 530 w 901"/>
                <a:gd name="T39" fmla="*/ 401 h 525"/>
                <a:gd name="T40" fmla="*/ 483 w 901"/>
                <a:gd name="T41" fmla="*/ 417 h 525"/>
                <a:gd name="T42" fmla="*/ 450 w 901"/>
                <a:gd name="T43" fmla="*/ 420 h 525"/>
                <a:gd name="T44" fmla="*/ 862 w 901"/>
                <a:gd name="T45" fmla="*/ 205 h 525"/>
                <a:gd name="T46" fmla="*/ 796 w 901"/>
                <a:gd name="T47" fmla="*/ 145 h 525"/>
                <a:gd name="T48" fmla="*/ 705 w 901"/>
                <a:gd name="T49" fmla="*/ 80 h 525"/>
                <a:gd name="T50" fmla="*/ 650 w 901"/>
                <a:gd name="T51" fmla="*/ 49 h 525"/>
                <a:gd name="T52" fmla="*/ 587 w 901"/>
                <a:gd name="T53" fmla="*/ 24 h 525"/>
                <a:gd name="T54" fmla="*/ 521 w 901"/>
                <a:gd name="T55" fmla="*/ 6 h 525"/>
                <a:gd name="T56" fmla="*/ 450 w 901"/>
                <a:gd name="T57" fmla="*/ 0 h 525"/>
                <a:gd name="T58" fmla="*/ 379 w 901"/>
                <a:gd name="T59" fmla="*/ 6 h 525"/>
                <a:gd name="T60" fmla="*/ 313 w 901"/>
                <a:gd name="T61" fmla="*/ 24 h 525"/>
                <a:gd name="T62" fmla="*/ 252 w 901"/>
                <a:gd name="T63" fmla="*/ 49 h 525"/>
                <a:gd name="T64" fmla="*/ 196 w 901"/>
                <a:gd name="T65" fmla="*/ 80 h 525"/>
                <a:gd name="T66" fmla="*/ 105 w 901"/>
                <a:gd name="T67" fmla="*/ 145 h 525"/>
                <a:gd name="T68" fmla="*/ 39 w 901"/>
                <a:gd name="T69" fmla="*/ 205 h 525"/>
                <a:gd name="T70" fmla="*/ 1 w 901"/>
                <a:gd name="T71" fmla="*/ 249 h 525"/>
                <a:gd name="T72" fmla="*/ 3 w 901"/>
                <a:gd name="T73" fmla="*/ 264 h 525"/>
                <a:gd name="T74" fmla="*/ 61 w 901"/>
                <a:gd name="T75" fmla="*/ 330 h 525"/>
                <a:gd name="T76" fmla="*/ 137 w 901"/>
                <a:gd name="T77" fmla="*/ 398 h 525"/>
                <a:gd name="T78" fmla="*/ 185 w 901"/>
                <a:gd name="T79" fmla="*/ 434 h 525"/>
                <a:gd name="T80" fmla="*/ 239 w 901"/>
                <a:gd name="T81" fmla="*/ 467 h 525"/>
                <a:gd name="T82" fmla="*/ 298 w 901"/>
                <a:gd name="T83" fmla="*/ 495 h 525"/>
                <a:gd name="T84" fmla="*/ 361 w 901"/>
                <a:gd name="T85" fmla="*/ 514 h 525"/>
                <a:gd name="T86" fmla="*/ 428 w 901"/>
                <a:gd name="T87" fmla="*/ 525 h 525"/>
                <a:gd name="T88" fmla="*/ 495 w 901"/>
                <a:gd name="T89" fmla="*/ 523 h 525"/>
                <a:gd name="T90" fmla="*/ 561 w 901"/>
                <a:gd name="T91" fmla="*/ 509 h 525"/>
                <a:gd name="T92" fmla="*/ 623 w 901"/>
                <a:gd name="T93" fmla="*/ 486 h 525"/>
                <a:gd name="T94" fmla="*/ 680 w 901"/>
                <a:gd name="T95" fmla="*/ 456 h 525"/>
                <a:gd name="T96" fmla="*/ 731 w 901"/>
                <a:gd name="T97" fmla="*/ 422 h 525"/>
                <a:gd name="T98" fmla="*/ 791 w 901"/>
                <a:gd name="T99" fmla="*/ 375 h 525"/>
                <a:gd name="T100" fmla="*/ 859 w 901"/>
                <a:gd name="T101" fmla="*/ 309 h 525"/>
                <a:gd name="T102" fmla="*/ 901 w 901"/>
                <a:gd name="T103" fmla="*/ 260 h 525"/>
                <a:gd name="T104" fmla="*/ 897 w 901"/>
                <a:gd name="T105" fmla="*/ 245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01" h="525">
                  <a:moveTo>
                    <a:pt x="450" y="420"/>
                  </a:moveTo>
                  <a:lnTo>
                    <a:pt x="433" y="419"/>
                  </a:lnTo>
                  <a:lnTo>
                    <a:pt x="417" y="417"/>
                  </a:lnTo>
                  <a:lnTo>
                    <a:pt x="401" y="412"/>
                  </a:lnTo>
                  <a:lnTo>
                    <a:pt x="386" y="407"/>
                  </a:lnTo>
                  <a:lnTo>
                    <a:pt x="372" y="401"/>
                  </a:lnTo>
                  <a:lnTo>
                    <a:pt x="358" y="392"/>
                  </a:lnTo>
                  <a:lnTo>
                    <a:pt x="345" y="382"/>
                  </a:lnTo>
                  <a:lnTo>
                    <a:pt x="333" y="372"/>
                  </a:lnTo>
                  <a:lnTo>
                    <a:pt x="323" y="360"/>
                  </a:lnTo>
                  <a:lnTo>
                    <a:pt x="313" y="347"/>
                  </a:lnTo>
                  <a:lnTo>
                    <a:pt x="305" y="334"/>
                  </a:lnTo>
                  <a:lnTo>
                    <a:pt x="298" y="319"/>
                  </a:lnTo>
                  <a:lnTo>
                    <a:pt x="292" y="304"/>
                  </a:lnTo>
                  <a:lnTo>
                    <a:pt x="288" y="288"/>
                  </a:lnTo>
                  <a:lnTo>
                    <a:pt x="286" y="272"/>
                  </a:lnTo>
                  <a:lnTo>
                    <a:pt x="285" y="255"/>
                  </a:lnTo>
                  <a:lnTo>
                    <a:pt x="286" y="238"/>
                  </a:lnTo>
                  <a:lnTo>
                    <a:pt x="288" y="222"/>
                  </a:lnTo>
                  <a:lnTo>
                    <a:pt x="292" y="205"/>
                  </a:lnTo>
                  <a:lnTo>
                    <a:pt x="298" y="190"/>
                  </a:lnTo>
                  <a:lnTo>
                    <a:pt x="305" y="177"/>
                  </a:lnTo>
                  <a:lnTo>
                    <a:pt x="313" y="163"/>
                  </a:lnTo>
                  <a:lnTo>
                    <a:pt x="323" y="150"/>
                  </a:lnTo>
                  <a:lnTo>
                    <a:pt x="333" y="138"/>
                  </a:lnTo>
                  <a:lnTo>
                    <a:pt x="345" y="127"/>
                  </a:lnTo>
                  <a:lnTo>
                    <a:pt x="358" y="118"/>
                  </a:lnTo>
                  <a:lnTo>
                    <a:pt x="372" y="110"/>
                  </a:lnTo>
                  <a:lnTo>
                    <a:pt x="386" y="103"/>
                  </a:lnTo>
                  <a:lnTo>
                    <a:pt x="401" y="97"/>
                  </a:lnTo>
                  <a:lnTo>
                    <a:pt x="417" y="93"/>
                  </a:lnTo>
                  <a:lnTo>
                    <a:pt x="433" y="91"/>
                  </a:lnTo>
                  <a:lnTo>
                    <a:pt x="450" y="90"/>
                  </a:lnTo>
                  <a:lnTo>
                    <a:pt x="467" y="91"/>
                  </a:lnTo>
                  <a:lnTo>
                    <a:pt x="483" y="93"/>
                  </a:lnTo>
                  <a:lnTo>
                    <a:pt x="499" y="97"/>
                  </a:lnTo>
                  <a:lnTo>
                    <a:pt x="515" y="103"/>
                  </a:lnTo>
                  <a:lnTo>
                    <a:pt x="530" y="110"/>
                  </a:lnTo>
                  <a:lnTo>
                    <a:pt x="542" y="118"/>
                  </a:lnTo>
                  <a:lnTo>
                    <a:pt x="555" y="127"/>
                  </a:lnTo>
                  <a:lnTo>
                    <a:pt x="567" y="138"/>
                  </a:lnTo>
                  <a:lnTo>
                    <a:pt x="578" y="150"/>
                  </a:lnTo>
                  <a:lnTo>
                    <a:pt x="587" y="163"/>
                  </a:lnTo>
                  <a:lnTo>
                    <a:pt x="596" y="177"/>
                  </a:lnTo>
                  <a:lnTo>
                    <a:pt x="602" y="190"/>
                  </a:lnTo>
                  <a:lnTo>
                    <a:pt x="608" y="205"/>
                  </a:lnTo>
                  <a:lnTo>
                    <a:pt x="612" y="222"/>
                  </a:lnTo>
                  <a:lnTo>
                    <a:pt x="614" y="238"/>
                  </a:lnTo>
                  <a:lnTo>
                    <a:pt x="615" y="255"/>
                  </a:lnTo>
                  <a:lnTo>
                    <a:pt x="614" y="272"/>
                  </a:lnTo>
                  <a:lnTo>
                    <a:pt x="612" y="288"/>
                  </a:lnTo>
                  <a:lnTo>
                    <a:pt x="608" y="304"/>
                  </a:lnTo>
                  <a:lnTo>
                    <a:pt x="602" y="319"/>
                  </a:lnTo>
                  <a:lnTo>
                    <a:pt x="596" y="334"/>
                  </a:lnTo>
                  <a:lnTo>
                    <a:pt x="587" y="347"/>
                  </a:lnTo>
                  <a:lnTo>
                    <a:pt x="578" y="360"/>
                  </a:lnTo>
                  <a:lnTo>
                    <a:pt x="567" y="372"/>
                  </a:lnTo>
                  <a:lnTo>
                    <a:pt x="555" y="382"/>
                  </a:lnTo>
                  <a:lnTo>
                    <a:pt x="542" y="392"/>
                  </a:lnTo>
                  <a:lnTo>
                    <a:pt x="530" y="401"/>
                  </a:lnTo>
                  <a:lnTo>
                    <a:pt x="515" y="407"/>
                  </a:lnTo>
                  <a:lnTo>
                    <a:pt x="499" y="412"/>
                  </a:lnTo>
                  <a:lnTo>
                    <a:pt x="483" y="417"/>
                  </a:lnTo>
                  <a:lnTo>
                    <a:pt x="467" y="420"/>
                  </a:lnTo>
                  <a:lnTo>
                    <a:pt x="450" y="420"/>
                  </a:lnTo>
                  <a:lnTo>
                    <a:pt x="450" y="420"/>
                  </a:lnTo>
                  <a:close/>
                  <a:moveTo>
                    <a:pt x="897" y="245"/>
                  </a:moveTo>
                  <a:lnTo>
                    <a:pt x="888" y="233"/>
                  </a:lnTo>
                  <a:lnTo>
                    <a:pt x="862" y="205"/>
                  </a:lnTo>
                  <a:lnTo>
                    <a:pt x="843" y="187"/>
                  </a:lnTo>
                  <a:lnTo>
                    <a:pt x="821" y="167"/>
                  </a:lnTo>
                  <a:lnTo>
                    <a:pt x="796" y="145"/>
                  </a:lnTo>
                  <a:lnTo>
                    <a:pt x="768" y="123"/>
                  </a:lnTo>
                  <a:lnTo>
                    <a:pt x="738" y="101"/>
                  </a:lnTo>
                  <a:lnTo>
                    <a:pt x="705" y="80"/>
                  </a:lnTo>
                  <a:lnTo>
                    <a:pt x="687" y="69"/>
                  </a:lnTo>
                  <a:lnTo>
                    <a:pt x="669" y="60"/>
                  </a:lnTo>
                  <a:lnTo>
                    <a:pt x="650" y="49"/>
                  </a:lnTo>
                  <a:lnTo>
                    <a:pt x="629" y="40"/>
                  </a:lnTo>
                  <a:lnTo>
                    <a:pt x="609" y="32"/>
                  </a:lnTo>
                  <a:lnTo>
                    <a:pt x="587" y="24"/>
                  </a:lnTo>
                  <a:lnTo>
                    <a:pt x="566" y="17"/>
                  </a:lnTo>
                  <a:lnTo>
                    <a:pt x="543" y="11"/>
                  </a:lnTo>
                  <a:lnTo>
                    <a:pt x="521" y="6"/>
                  </a:lnTo>
                  <a:lnTo>
                    <a:pt x="497" y="3"/>
                  </a:lnTo>
                  <a:lnTo>
                    <a:pt x="474" y="1"/>
                  </a:lnTo>
                  <a:lnTo>
                    <a:pt x="450" y="0"/>
                  </a:lnTo>
                  <a:lnTo>
                    <a:pt x="427" y="1"/>
                  </a:lnTo>
                  <a:lnTo>
                    <a:pt x="403" y="3"/>
                  </a:lnTo>
                  <a:lnTo>
                    <a:pt x="379" y="6"/>
                  </a:lnTo>
                  <a:lnTo>
                    <a:pt x="357" y="11"/>
                  </a:lnTo>
                  <a:lnTo>
                    <a:pt x="334" y="17"/>
                  </a:lnTo>
                  <a:lnTo>
                    <a:pt x="313" y="24"/>
                  </a:lnTo>
                  <a:lnTo>
                    <a:pt x="291" y="32"/>
                  </a:lnTo>
                  <a:lnTo>
                    <a:pt x="271" y="40"/>
                  </a:lnTo>
                  <a:lnTo>
                    <a:pt x="252" y="49"/>
                  </a:lnTo>
                  <a:lnTo>
                    <a:pt x="232" y="60"/>
                  </a:lnTo>
                  <a:lnTo>
                    <a:pt x="213" y="69"/>
                  </a:lnTo>
                  <a:lnTo>
                    <a:pt x="196" y="80"/>
                  </a:lnTo>
                  <a:lnTo>
                    <a:pt x="163" y="101"/>
                  </a:lnTo>
                  <a:lnTo>
                    <a:pt x="133" y="123"/>
                  </a:lnTo>
                  <a:lnTo>
                    <a:pt x="105" y="145"/>
                  </a:lnTo>
                  <a:lnTo>
                    <a:pt x="79" y="167"/>
                  </a:lnTo>
                  <a:lnTo>
                    <a:pt x="58" y="187"/>
                  </a:lnTo>
                  <a:lnTo>
                    <a:pt x="39" y="205"/>
                  </a:lnTo>
                  <a:lnTo>
                    <a:pt x="13" y="233"/>
                  </a:lnTo>
                  <a:lnTo>
                    <a:pt x="3" y="245"/>
                  </a:lnTo>
                  <a:lnTo>
                    <a:pt x="1" y="249"/>
                  </a:lnTo>
                  <a:lnTo>
                    <a:pt x="0" y="255"/>
                  </a:lnTo>
                  <a:lnTo>
                    <a:pt x="0" y="260"/>
                  </a:lnTo>
                  <a:lnTo>
                    <a:pt x="3" y="264"/>
                  </a:lnTo>
                  <a:lnTo>
                    <a:pt x="14" y="278"/>
                  </a:lnTo>
                  <a:lnTo>
                    <a:pt x="42" y="309"/>
                  </a:lnTo>
                  <a:lnTo>
                    <a:pt x="61" y="330"/>
                  </a:lnTo>
                  <a:lnTo>
                    <a:pt x="83" y="351"/>
                  </a:lnTo>
                  <a:lnTo>
                    <a:pt x="109" y="375"/>
                  </a:lnTo>
                  <a:lnTo>
                    <a:pt x="137" y="398"/>
                  </a:lnTo>
                  <a:lnTo>
                    <a:pt x="153" y="410"/>
                  </a:lnTo>
                  <a:lnTo>
                    <a:pt x="169" y="422"/>
                  </a:lnTo>
                  <a:lnTo>
                    <a:pt x="185" y="434"/>
                  </a:lnTo>
                  <a:lnTo>
                    <a:pt x="203" y="446"/>
                  </a:lnTo>
                  <a:lnTo>
                    <a:pt x="221" y="456"/>
                  </a:lnTo>
                  <a:lnTo>
                    <a:pt x="239" y="467"/>
                  </a:lnTo>
                  <a:lnTo>
                    <a:pt x="258" y="477"/>
                  </a:lnTo>
                  <a:lnTo>
                    <a:pt x="277" y="486"/>
                  </a:lnTo>
                  <a:lnTo>
                    <a:pt x="298" y="495"/>
                  </a:lnTo>
                  <a:lnTo>
                    <a:pt x="318" y="502"/>
                  </a:lnTo>
                  <a:lnTo>
                    <a:pt x="340" y="509"/>
                  </a:lnTo>
                  <a:lnTo>
                    <a:pt x="361" y="514"/>
                  </a:lnTo>
                  <a:lnTo>
                    <a:pt x="383" y="520"/>
                  </a:lnTo>
                  <a:lnTo>
                    <a:pt x="405" y="523"/>
                  </a:lnTo>
                  <a:lnTo>
                    <a:pt x="428" y="525"/>
                  </a:lnTo>
                  <a:lnTo>
                    <a:pt x="450" y="525"/>
                  </a:lnTo>
                  <a:lnTo>
                    <a:pt x="473" y="525"/>
                  </a:lnTo>
                  <a:lnTo>
                    <a:pt x="495" y="523"/>
                  </a:lnTo>
                  <a:lnTo>
                    <a:pt x="518" y="520"/>
                  </a:lnTo>
                  <a:lnTo>
                    <a:pt x="539" y="514"/>
                  </a:lnTo>
                  <a:lnTo>
                    <a:pt x="561" y="509"/>
                  </a:lnTo>
                  <a:lnTo>
                    <a:pt x="582" y="502"/>
                  </a:lnTo>
                  <a:lnTo>
                    <a:pt x="602" y="495"/>
                  </a:lnTo>
                  <a:lnTo>
                    <a:pt x="623" y="486"/>
                  </a:lnTo>
                  <a:lnTo>
                    <a:pt x="642" y="477"/>
                  </a:lnTo>
                  <a:lnTo>
                    <a:pt x="661" y="467"/>
                  </a:lnTo>
                  <a:lnTo>
                    <a:pt x="680" y="456"/>
                  </a:lnTo>
                  <a:lnTo>
                    <a:pt x="698" y="446"/>
                  </a:lnTo>
                  <a:lnTo>
                    <a:pt x="715" y="434"/>
                  </a:lnTo>
                  <a:lnTo>
                    <a:pt x="731" y="422"/>
                  </a:lnTo>
                  <a:lnTo>
                    <a:pt x="747" y="410"/>
                  </a:lnTo>
                  <a:lnTo>
                    <a:pt x="763" y="398"/>
                  </a:lnTo>
                  <a:lnTo>
                    <a:pt x="791" y="375"/>
                  </a:lnTo>
                  <a:lnTo>
                    <a:pt x="817" y="351"/>
                  </a:lnTo>
                  <a:lnTo>
                    <a:pt x="839" y="330"/>
                  </a:lnTo>
                  <a:lnTo>
                    <a:pt x="859" y="309"/>
                  </a:lnTo>
                  <a:lnTo>
                    <a:pt x="887" y="278"/>
                  </a:lnTo>
                  <a:lnTo>
                    <a:pt x="898" y="264"/>
                  </a:lnTo>
                  <a:lnTo>
                    <a:pt x="901" y="260"/>
                  </a:lnTo>
                  <a:lnTo>
                    <a:pt x="901" y="255"/>
                  </a:lnTo>
                  <a:lnTo>
                    <a:pt x="901" y="249"/>
                  </a:lnTo>
                  <a:lnTo>
                    <a:pt x="897" y="245"/>
                  </a:lnTo>
                  <a:lnTo>
                    <a:pt x="897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3" name="Freeform 3073">
            <a:extLst>
              <a:ext uri="{FF2B5EF4-FFF2-40B4-BE49-F238E27FC236}">
                <a16:creationId xmlns:a16="http://schemas.microsoft.com/office/drawing/2014/main" id="{78F68271-59B8-4B4A-A0BF-0BAF2FBC8698}"/>
              </a:ext>
            </a:extLst>
          </p:cNvPr>
          <p:cNvSpPr>
            <a:spLocks noEditPoints="1"/>
          </p:cNvSpPr>
          <p:nvPr/>
        </p:nvSpPr>
        <p:spPr bwMode="auto">
          <a:xfrm>
            <a:off x="1090989" y="3549983"/>
            <a:ext cx="380334" cy="380334"/>
          </a:xfrm>
          <a:custGeom>
            <a:avLst/>
            <a:gdLst>
              <a:gd name="T0" fmla="*/ 620 w 720"/>
              <a:gd name="T1" fmla="*/ 289 h 719"/>
              <a:gd name="T2" fmla="*/ 600 w 720"/>
              <a:gd name="T3" fmla="*/ 278 h 719"/>
              <a:gd name="T4" fmla="*/ 636 w 720"/>
              <a:gd name="T5" fmla="*/ 145 h 719"/>
              <a:gd name="T6" fmla="*/ 695 w 720"/>
              <a:gd name="T7" fmla="*/ 114 h 719"/>
              <a:gd name="T8" fmla="*/ 680 w 720"/>
              <a:gd name="T9" fmla="*/ 209 h 719"/>
              <a:gd name="T10" fmla="*/ 645 w 720"/>
              <a:gd name="T11" fmla="*/ 270 h 719"/>
              <a:gd name="T12" fmla="*/ 425 w 720"/>
              <a:gd name="T13" fmla="*/ 278 h 719"/>
              <a:gd name="T14" fmla="*/ 416 w 720"/>
              <a:gd name="T15" fmla="*/ 280 h 719"/>
              <a:gd name="T16" fmla="*/ 298 w 720"/>
              <a:gd name="T17" fmla="*/ 282 h 719"/>
              <a:gd name="T18" fmla="*/ 261 w 720"/>
              <a:gd name="T19" fmla="*/ 160 h 719"/>
              <a:gd name="T20" fmla="*/ 332 w 720"/>
              <a:gd name="T21" fmla="*/ 150 h 719"/>
              <a:gd name="T22" fmla="*/ 364 w 720"/>
              <a:gd name="T23" fmla="*/ 101 h 719"/>
              <a:gd name="T24" fmla="*/ 462 w 720"/>
              <a:gd name="T25" fmla="*/ 158 h 719"/>
              <a:gd name="T26" fmla="*/ 49 w 720"/>
              <a:gd name="T27" fmla="*/ 236 h 719"/>
              <a:gd name="T28" fmla="*/ 29 w 720"/>
              <a:gd name="T29" fmla="*/ 170 h 719"/>
              <a:gd name="T30" fmla="*/ 24 w 720"/>
              <a:gd name="T31" fmla="*/ 72 h 719"/>
              <a:gd name="T32" fmla="*/ 90 w 720"/>
              <a:gd name="T33" fmla="*/ 177 h 719"/>
              <a:gd name="T34" fmla="*/ 129 w 720"/>
              <a:gd name="T35" fmla="*/ 298 h 719"/>
              <a:gd name="T36" fmla="*/ 91 w 720"/>
              <a:gd name="T37" fmla="*/ 284 h 719"/>
              <a:gd name="T38" fmla="*/ 719 w 720"/>
              <a:gd name="T39" fmla="*/ 69 h 719"/>
              <a:gd name="T40" fmla="*/ 712 w 720"/>
              <a:gd name="T41" fmla="*/ 50 h 719"/>
              <a:gd name="T42" fmla="*/ 644 w 720"/>
              <a:gd name="T43" fmla="*/ 21 h 719"/>
              <a:gd name="T44" fmla="*/ 632 w 720"/>
              <a:gd name="T45" fmla="*/ 0 h 719"/>
              <a:gd name="T46" fmla="*/ 77 w 720"/>
              <a:gd name="T47" fmla="*/ 13 h 719"/>
              <a:gd name="T48" fmla="*/ 12 w 720"/>
              <a:gd name="T49" fmla="*/ 48 h 719"/>
              <a:gd name="T50" fmla="*/ 0 w 720"/>
              <a:gd name="T51" fmla="*/ 66 h 719"/>
              <a:gd name="T52" fmla="*/ 6 w 720"/>
              <a:gd name="T53" fmla="*/ 177 h 719"/>
              <a:gd name="T54" fmla="*/ 29 w 720"/>
              <a:gd name="T55" fmla="*/ 250 h 719"/>
              <a:gd name="T56" fmla="*/ 73 w 720"/>
              <a:gd name="T57" fmla="*/ 302 h 719"/>
              <a:gd name="T58" fmla="*/ 130 w 720"/>
              <a:gd name="T59" fmla="*/ 322 h 719"/>
              <a:gd name="T60" fmla="*/ 195 w 720"/>
              <a:gd name="T61" fmla="*/ 379 h 719"/>
              <a:gd name="T62" fmla="*/ 288 w 720"/>
              <a:gd name="T63" fmla="*/ 441 h 719"/>
              <a:gd name="T64" fmla="*/ 312 w 720"/>
              <a:gd name="T65" fmla="*/ 476 h 719"/>
              <a:gd name="T66" fmla="*/ 316 w 720"/>
              <a:gd name="T67" fmla="*/ 529 h 719"/>
              <a:gd name="T68" fmla="*/ 299 w 720"/>
              <a:gd name="T69" fmla="*/ 596 h 719"/>
              <a:gd name="T70" fmla="*/ 262 w 720"/>
              <a:gd name="T71" fmla="*/ 628 h 719"/>
              <a:gd name="T72" fmla="*/ 204 w 720"/>
              <a:gd name="T73" fmla="*/ 635 h 719"/>
              <a:gd name="T74" fmla="*/ 192 w 720"/>
              <a:gd name="T75" fmla="*/ 707 h 719"/>
              <a:gd name="T76" fmla="*/ 515 w 720"/>
              <a:gd name="T77" fmla="*/ 719 h 719"/>
              <a:gd name="T78" fmla="*/ 527 w 720"/>
              <a:gd name="T79" fmla="*/ 647 h 719"/>
              <a:gd name="T80" fmla="*/ 501 w 720"/>
              <a:gd name="T81" fmla="*/ 635 h 719"/>
              <a:gd name="T82" fmla="*/ 445 w 720"/>
              <a:gd name="T83" fmla="*/ 618 h 719"/>
              <a:gd name="T84" fmla="*/ 412 w 720"/>
              <a:gd name="T85" fmla="*/ 577 h 719"/>
              <a:gd name="T86" fmla="*/ 401 w 720"/>
              <a:gd name="T87" fmla="*/ 511 h 719"/>
              <a:gd name="T88" fmla="*/ 410 w 720"/>
              <a:gd name="T89" fmla="*/ 470 h 719"/>
              <a:gd name="T90" fmla="*/ 443 w 720"/>
              <a:gd name="T91" fmla="*/ 431 h 719"/>
              <a:gd name="T92" fmla="*/ 537 w 720"/>
              <a:gd name="T93" fmla="*/ 367 h 719"/>
              <a:gd name="T94" fmla="*/ 601 w 720"/>
              <a:gd name="T95" fmla="*/ 321 h 719"/>
              <a:gd name="T96" fmla="*/ 653 w 720"/>
              <a:gd name="T97" fmla="*/ 295 h 719"/>
              <a:gd name="T98" fmla="*/ 696 w 720"/>
              <a:gd name="T99" fmla="*/ 233 h 719"/>
              <a:gd name="T100" fmla="*/ 718 w 720"/>
              <a:gd name="T101" fmla="*/ 141 h 7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720" h="719">
                <a:moveTo>
                  <a:pt x="645" y="270"/>
                </a:moveTo>
                <a:lnTo>
                  <a:pt x="640" y="276"/>
                </a:lnTo>
                <a:lnTo>
                  <a:pt x="633" y="280"/>
                </a:lnTo>
                <a:lnTo>
                  <a:pt x="627" y="284"/>
                </a:lnTo>
                <a:lnTo>
                  <a:pt x="620" y="289"/>
                </a:lnTo>
                <a:lnTo>
                  <a:pt x="614" y="291"/>
                </a:lnTo>
                <a:lnTo>
                  <a:pt x="606" y="295"/>
                </a:lnTo>
                <a:lnTo>
                  <a:pt x="599" y="296"/>
                </a:lnTo>
                <a:lnTo>
                  <a:pt x="590" y="298"/>
                </a:lnTo>
                <a:lnTo>
                  <a:pt x="600" y="278"/>
                </a:lnTo>
                <a:lnTo>
                  <a:pt x="609" y="257"/>
                </a:lnTo>
                <a:lnTo>
                  <a:pt x="618" y="233"/>
                </a:lnTo>
                <a:lnTo>
                  <a:pt x="625" y="207"/>
                </a:lnTo>
                <a:lnTo>
                  <a:pt x="631" y="177"/>
                </a:lnTo>
                <a:lnTo>
                  <a:pt x="636" y="145"/>
                </a:lnTo>
                <a:lnTo>
                  <a:pt x="639" y="110"/>
                </a:lnTo>
                <a:lnTo>
                  <a:pt x="643" y="72"/>
                </a:lnTo>
                <a:lnTo>
                  <a:pt x="695" y="72"/>
                </a:lnTo>
                <a:lnTo>
                  <a:pt x="695" y="90"/>
                </a:lnTo>
                <a:lnTo>
                  <a:pt x="695" y="114"/>
                </a:lnTo>
                <a:lnTo>
                  <a:pt x="694" y="140"/>
                </a:lnTo>
                <a:lnTo>
                  <a:pt x="690" y="167"/>
                </a:lnTo>
                <a:lnTo>
                  <a:pt x="687" y="182"/>
                </a:lnTo>
                <a:lnTo>
                  <a:pt x="684" y="196"/>
                </a:lnTo>
                <a:lnTo>
                  <a:pt x="680" y="209"/>
                </a:lnTo>
                <a:lnTo>
                  <a:pt x="675" y="223"/>
                </a:lnTo>
                <a:lnTo>
                  <a:pt x="669" y="236"/>
                </a:lnTo>
                <a:lnTo>
                  <a:pt x="662" y="248"/>
                </a:lnTo>
                <a:lnTo>
                  <a:pt x="655" y="259"/>
                </a:lnTo>
                <a:lnTo>
                  <a:pt x="645" y="270"/>
                </a:lnTo>
                <a:lnTo>
                  <a:pt x="645" y="270"/>
                </a:lnTo>
                <a:close/>
                <a:moveTo>
                  <a:pt x="460" y="160"/>
                </a:moveTo>
                <a:lnTo>
                  <a:pt x="402" y="205"/>
                </a:lnTo>
                <a:lnTo>
                  <a:pt x="425" y="273"/>
                </a:lnTo>
                <a:lnTo>
                  <a:pt x="425" y="278"/>
                </a:lnTo>
                <a:lnTo>
                  <a:pt x="424" y="280"/>
                </a:lnTo>
                <a:lnTo>
                  <a:pt x="421" y="282"/>
                </a:lnTo>
                <a:lnTo>
                  <a:pt x="420" y="282"/>
                </a:lnTo>
                <a:lnTo>
                  <a:pt x="418" y="282"/>
                </a:lnTo>
                <a:lnTo>
                  <a:pt x="416" y="280"/>
                </a:lnTo>
                <a:lnTo>
                  <a:pt x="360" y="235"/>
                </a:lnTo>
                <a:lnTo>
                  <a:pt x="304" y="280"/>
                </a:lnTo>
                <a:lnTo>
                  <a:pt x="303" y="282"/>
                </a:lnTo>
                <a:lnTo>
                  <a:pt x="300" y="282"/>
                </a:lnTo>
                <a:lnTo>
                  <a:pt x="298" y="282"/>
                </a:lnTo>
                <a:lnTo>
                  <a:pt x="297" y="280"/>
                </a:lnTo>
                <a:lnTo>
                  <a:pt x="294" y="278"/>
                </a:lnTo>
                <a:lnTo>
                  <a:pt x="294" y="273"/>
                </a:lnTo>
                <a:lnTo>
                  <a:pt x="317" y="205"/>
                </a:lnTo>
                <a:lnTo>
                  <a:pt x="261" y="160"/>
                </a:lnTo>
                <a:lnTo>
                  <a:pt x="259" y="158"/>
                </a:lnTo>
                <a:lnTo>
                  <a:pt x="259" y="154"/>
                </a:lnTo>
                <a:lnTo>
                  <a:pt x="261" y="151"/>
                </a:lnTo>
                <a:lnTo>
                  <a:pt x="264" y="150"/>
                </a:lnTo>
                <a:lnTo>
                  <a:pt x="332" y="150"/>
                </a:lnTo>
                <a:lnTo>
                  <a:pt x="354" y="101"/>
                </a:lnTo>
                <a:lnTo>
                  <a:pt x="356" y="97"/>
                </a:lnTo>
                <a:lnTo>
                  <a:pt x="358" y="97"/>
                </a:lnTo>
                <a:lnTo>
                  <a:pt x="362" y="97"/>
                </a:lnTo>
                <a:lnTo>
                  <a:pt x="364" y="101"/>
                </a:lnTo>
                <a:lnTo>
                  <a:pt x="388" y="150"/>
                </a:lnTo>
                <a:lnTo>
                  <a:pt x="456" y="150"/>
                </a:lnTo>
                <a:lnTo>
                  <a:pt x="460" y="151"/>
                </a:lnTo>
                <a:lnTo>
                  <a:pt x="462" y="154"/>
                </a:lnTo>
                <a:lnTo>
                  <a:pt x="462" y="158"/>
                </a:lnTo>
                <a:lnTo>
                  <a:pt x="460" y="160"/>
                </a:lnTo>
                <a:close/>
                <a:moveTo>
                  <a:pt x="72" y="270"/>
                </a:moveTo>
                <a:lnTo>
                  <a:pt x="63" y="260"/>
                </a:lnTo>
                <a:lnTo>
                  <a:pt x="55" y="248"/>
                </a:lnTo>
                <a:lnTo>
                  <a:pt x="49" y="236"/>
                </a:lnTo>
                <a:lnTo>
                  <a:pt x="43" y="225"/>
                </a:lnTo>
                <a:lnTo>
                  <a:pt x="38" y="211"/>
                </a:lnTo>
                <a:lnTo>
                  <a:pt x="35" y="198"/>
                </a:lnTo>
                <a:lnTo>
                  <a:pt x="31" y="184"/>
                </a:lnTo>
                <a:lnTo>
                  <a:pt x="29" y="170"/>
                </a:lnTo>
                <a:lnTo>
                  <a:pt x="27" y="142"/>
                </a:lnTo>
                <a:lnTo>
                  <a:pt x="24" y="116"/>
                </a:lnTo>
                <a:lnTo>
                  <a:pt x="24" y="9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78" y="72"/>
                </a:lnTo>
                <a:lnTo>
                  <a:pt x="80" y="110"/>
                </a:lnTo>
                <a:lnTo>
                  <a:pt x="85" y="145"/>
                </a:lnTo>
                <a:lnTo>
                  <a:pt x="90" y="177"/>
                </a:lnTo>
                <a:lnTo>
                  <a:pt x="96" y="207"/>
                </a:lnTo>
                <a:lnTo>
                  <a:pt x="103" y="233"/>
                </a:lnTo>
                <a:lnTo>
                  <a:pt x="111" y="257"/>
                </a:lnTo>
                <a:lnTo>
                  <a:pt x="119" y="278"/>
                </a:lnTo>
                <a:lnTo>
                  <a:pt x="129" y="298"/>
                </a:lnTo>
                <a:lnTo>
                  <a:pt x="121" y="296"/>
                </a:lnTo>
                <a:lnTo>
                  <a:pt x="112" y="295"/>
                </a:lnTo>
                <a:lnTo>
                  <a:pt x="105" y="291"/>
                </a:lnTo>
                <a:lnTo>
                  <a:pt x="98" y="289"/>
                </a:lnTo>
                <a:lnTo>
                  <a:pt x="91" y="284"/>
                </a:lnTo>
                <a:lnTo>
                  <a:pt x="84" y="280"/>
                </a:lnTo>
                <a:lnTo>
                  <a:pt x="78" y="276"/>
                </a:lnTo>
                <a:lnTo>
                  <a:pt x="72" y="270"/>
                </a:lnTo>
                <a:lnTo>
                  <a:pt x="72" y="270"/>
                </a:lnTo>
                <a:close/>
                <a:moveTo>
                  <a:pt x="719" y="69"/>
                </a:moveTo>
                <a:lnTo>
                  <a:pt x="719" y="64"/>
                </a:lnTo>
                <a:lnTo>
                  <a:pt x="719" y="60"/>
                </a:lnTo>
                <a:lnTo>
                  <a:pt x="719" y="56"/>
                </a:lnTo>
                <a:lnTo>
                  <a:pt x="715" y="52"/>
                </a:lnTo>
                <a:lnTo>
                  <a:pt x="712" y="50"/>
                </a:lnTo>
                <a:lnTo>
                  <a:pt x="707" y="48"/>
                </a:lnTo>
                <a:lnTo>
                  <a:pt x="643" y="48"/>
                </a:lnTo>
                <a:lnTo>
                  <a:pt x="644" y="39"/>
                </a:lnTo>
                <a:lnTo>
                  <a:pt x="644" y="31"/>
                </a:lnTo>
                <a:lnTo>
                  <a:pt x="644" y="21"/>
                </a:lnTo>
                <a:lnTo>
                  <a:pt x="644" y="13"/>
                </a:lnTo>
                <a:lnTo>
                  <a:pt x="643" y="8"/>
                </a:lnTo>
                <a:lnTo>
                  <a:pt x="640" y="3"/>
                </a:lnTo>
                <a:lnTo>
                  <a:pt x="637" y="1"/>
                </a:lnTo>
                <a:lnTo>
                  <a:pt x="632" y="0"/>
                </a:lnTo>
                <a:lnTo>
                  <a:pt x="88" y="0"/>
                </a:lnTo>
                <a:lnTo>
                  <a:pt x="84" y="1"/>
                </a:lnTo>
                <a:lnTo>
                  <a:pt x="80" y="3"/>
                </a:lnTo>
                <a:lnTo>
                  <a:pt x="78" y="8"/>
                </a:lnTo>
                <a:lnTo>
                  <a:pt x="77" y="13"/>
                </a:lnTo>
                <a:lnTo>
                  <a:pt x="77" y="21"/>
                </a:lnTo>
                <a:lnTo>
                  <a:pt x="77" y="31"/>
                </a:lnTo>
                <a:lnTo>
                  <a:pt x="77" y="39"/>
                </a:lnTo>
                <a:lnTo>
                  <a:pt x="77" y="48"/>
                </a:lnTo>
                <a:lnTo>
                  <a:pt x="12" y="48"/>
                </a:lnTo>
                <a:lnTo>
                  <a:pt x="8" y="50"/>
                </a:lnTo>
                <a:lnTo>
                  <a:pt x="4" y="52"/>
                </a:lnTo>
                <a:lnTo>
                  <a:pt x="2" y="56"/>
                </a:lnTo>
                <a:lnTo>
                  <a:pt x="0" y="60"/>
                </a:lnTo>
                <a:lnTo>
                  <a:pt x="0" y="66"/>
                </a:lnTo>
                <a:lnTo>
                  <a:pt x="0" y="72"/>
                </a:lnTo>
                <a:lnTo>
                  <a:pt x="0" y="94"/>
                </a:lnTo>
                <a:lnTo>
                  <a:pt x="0" y="119"/>
                </a:lnTo>
                <a:lnTo>
                  <a:pt x="3" y="147"/>
                </a:lnTo>
                <a:lnTo>
                  <a:pt x="6" y="177"/>
                </a:lnTo>
                <a:lnTo>
                  <a:pt x="9" y="192"/>
                </a:lnTo>
                <a:lnTo>
                  <a:pt x="12" y="207"/>
                </a:lnTo>
                <a:lnTo>
                  <a:pt x="17" y="222"/>
                </a:lnTo>
                <a:lnTo>
                  <a:pt x="22" y="236"/>
                </a:lnTo>
                <a:lnTo>
                  <a:pt x="29" y="250"/>
                </a:lnTo>
                <a:lnTo>
                  <a:pt x="36" y="263"/>
                </a:lnTo>
                <a:lnTo>
                  <a:pt x="44" y="276"/>
                </a:lnTo>
                <a:lnTo>
                  <a:pt x="55" y="286"/>
                </a:lnTo>
                <a:lnTo>
                  <a:pt x="63" y="295"/>
                </a:lnTo>
                <a:lnTo>
                  <a:pt x="73" y="302"/>
                </a:lnTo>
                <a:lnTo>
                  <a:pt x="84" y="308"/>
                </a:lnTo>
                <a:lnTo>
                  <a:pt x="94" y="314"/>
                </a:lnTo>
                <a:lnTo>
                  <a:pt x="106" y="317"/>
                </a:lnTo>
                <a:lnTo>
                  <a:pt x="118" y="321"/>
                </a:lnTo>
                <a:lnTo>
                  <a:pt x="130" y="322"/>
                </a:lnTo>
                <a:lnTo>
                  <a:pt x="143" y="323"/>
                </a:lnTo>
                <a:lnTo>
                  <a:pt x="156" y="340"/>
                </a:lnTo>
                <a:lnTo>
                  <a:pt x="169" y="355"/>
                </a:lnTo>
                <a:lnTo>
                  <a:pt x="182" y="368"/>
                </a:lnTo>
                <a:lnTo>
                  <a:pt x="195" y="379"/>
                </a:lnTo>
                <a:lnTo>
                  <a:pt x="222" y="398"/>
                </a:lnTo>
                <a:lnTo>
                  <a:pt x="248" y="414"/>
                </a:lnTo>
                <a:lnTo>
                  <a:pt x="262" y="423"/>
                </a:lnTo>
                <a:lnTo>
                  <a:pt x="276" y="433"/>
                </a:lnTo>
                <a:lnTo>
                  <a:pt x="288" y="441"/>
                </a:lnTo>
                <a:lnTo>
                  <a:pt x="298" y="452"/>
                </a:lnTo>
                <a:lnTo>
                  <a:pt x="303" y="456"/>
                </a:lnTo>
                <a:lnTo>
                  <a:pt x="306" y="462"/>
                </a:lnTo>
                <a:lnTo>
                  <a:pt x="310" y="470"/>
                </a:lnTo>
                <a:lnTo>
                  <a:pt x="312" y="476"/>
                </a:lnTo>
                <a:lnTo>
                  <a:pt x="314" y="484"/>
                </a:lnTo>
                <a:lnTo>
                  <a:pt x="316" y="492"/>
                </a:lnTo>
                <a:lnTo>
                  <a:pt x="317" y="500"/>
                </a:lnTo>
                <a:lnTo>
                  <a:pt x="317" y="510"/>
                </a:lnTo>
                <a:lnTo>
                  <a:pt x="316" y="529"/>
                </a:lnTo>
                <a:lnTo>
                  <a:pt x="314" y="546"/>
                </a:lnTo>
                <a:lnTo>
                  <a:pt x="312" y="561"/>
                </a:lnTo>
                <a:lnTo>
                  <a:pt x="308" y="574"/>
                </a:lnTo>
                <a:lnTo>
                  <a:pt x="305" y="586"/>
                </a:lnTo>
                <a:lnTo>
                  <a:pt x="299" y="596"/>
                </a:lnTo>
                <a:lnTo>
                  <a:pt x="293" y="605"/>
                </a:lnTo>
                <a:lnTo>
                  <a:pt x="287" y="612"/>
                </a:lnTo>
                <a:lnTo>
                  <a:pt x="279" y="618"/>
                </a:lnTo>
                <a:lnTo>
                  <a:pt x="270" y="623"/>
                </a:lnTo>
                <a:lnTo>
                  <a:pt x="262" y="628"/>
                </a:lnTo>
                <a:lnTo>
                  <a:pt x="251" y="630"/>
                </a:lnTo>
                <a:lnTo>
                  <a:pt x="241" y="633"/>
                </a:lnTo>
                <a:lnTo>
                  <a:pt x="230" y="634"/>
                </a:lnTo>
                <a:lnTo>
                  <a:pt x="217" y="635"/>
                </a:lnTo>
                <a:lnTo>
                  <a:pt x="204" y="635"/>
                </a:lnTo>
                <a:lnTo>
                  <a:pt x="199" y="636"/>
                </a:lnTo>
                <a:lnTo>
                  <a:pt x="195" y="638"/>
                </a:lnTo>
                <a:lnTo>
                  <a:pt x="193" y="642"/>
                </a:lnTo>
                <a:lnTo>
                  <a:pt x="192" y="647"/>
                </a:lnTo>
                <a:lnTo>
                  <a:pt x="192" y="707"/>
                </a:lnTo>
                <a:lnTo>
                  <a:pt x="193" y="711"/>
                </a:lnTo>
                <a:lnTo>
                  <a:pt x="195" y="716"/>
                </a:lnTo>
                <a:lnTo>
                  <a:pt x="199" y="718"/>
                </a:lnTo>
                <a:lnTo>
                  <a:pt x="204" y="719"/>
                </a:lnTo>
                <a:lnTo>
                  <a:pt x="515" y="719"/>
                </a:lnTo>
                <a:lnTo>
                  <a:pt x="520" y="718"/>
                </a:lnTo>
                <a:lnTo>
                  <a:pt x="524" y="716"/>
                </a:lnTo>
                <a:lnTo>
                  <a:pt x="526" y="711"/>
                </a:lnTo>
                <a:lnTo>
                  <a:pt x="527" y="707"/>
                </a:lnTo>
                <a:lnTo>
                  <a:pt x="527" y="647"/>
                </a:lnTo>
                <a:lnTo>
                  <a:pt x="526" y="642"/>
                </a:lnTo>
                <a:lnTo>
                  <a:pt x="524" y="638"/>
                </a:lnTo>
                <a:lnTo>
                  <a:pt x="520" y="636"/>
                </a:lnTo>
                <a:lnTo>
                  <a:pt x="515" y="635"/>
                </a:lnTo>
                <a:lnTo>
                  <a:pt x="501" y="635"/>
                </a:lnTo>
                <a:lnTo>
                  <a:pt x="488" y="634"/>
                </a:lnTo>
                <a:lnTo>
                  <a:pt x="476" y="631"/>
                </a:lnTo>
                <a:lnTo>
                  <a:pt x="464" y="628"/>
                </a:lnTo>
                <a:lnTo>
                  <a:pt x="455" y="623"/>
                </a:lnTo>
                <a:lnTo>
                  <a:pt x="445" y="618"/>
                </a:lnTo>
                <a:lnTo>
                  <a:pt x="437" y="612"/>
                </a:lnTo>
                <a:lnTo>
                  <a:pt x="429" y="605"/>
                </a:lnTo>
                <a:lnTo>
                  <a:pt x="423" y="597"/>
                </a:lnTo>
                <a:lnTo>
                  <a:pt x="417" y="587"/>
                </a:lnTo>
                <a:lnTo>
                  <a:pt x="412" y="577"/>
                </a:lnTo>
                <a:lnTo>
                  <a:pt x="408" y="566"/>
                </a:lnTo>
                <a:lnTo>
                  <a:pt x="405" y="554"/>
                </a:lnTo>
                <a:lnTo>
                  <a:pt x="402" y="541"/>
                </a:lnTo>
                <a:lnTo>
                  <a:pt x="401" y="525"/>
                </a:lnTo>
                <a:lnTo>
                  <a:pt x="401" y="511"/>
                </a:lnTo>
                <a:lnTo>
                  <a:pt x="401" y="500"/>
                </a:lnTo>
                <a:lnTo>
                  <a:pt x="402" y="492"/>
                </a:lnTo>
                <a:lnTo>
                  <a:pt x="404" y="484"/>
                </a:lnTo>
                <a:lnTo>
                  <a:pt x="406" y="476"/>
                </a:lnTo>
                <a:lnTo>
                  <a:pt x="410" y="470"/>
                </a:lnTo>
                <a:lnTo>
                  <a:pt x="412" y="462"/>
                </a:lnTo>
                <a:lnTo>
                  <a:pt x="417" y="456"/>
                </a:lnTo>
                <a:lnTo>
                  <a:pt x="420" y="451"/>
                </a:lnTo>
                <a:lnTo>
                  <a:pt x="431" y="441"/>
                </a:lnTo>
                <a:lnTo>
                  <a:pt x="443" y="431"/>
                </a:lnTo>
                <a:lnTo>
                  <a:pt x="456" y="423"/>
                </a:lnTo>
                <a:lnTo>
                  <a:pt x="471" y="414"/>
                </a:lnTo>
                <a:lnTo>
                  <a:pt x="498" y="398"/>
                </a:lnTo>
                <a:lnTo>
                  <a:pt x="524" y="379"/>
                </a:lnTo>
                <a:lnTo>
                  <a:pt x="537" y="367"/>
                </a:lnTo>
                <a:lnTo>
                  <a:pt x="550" y="354"/>
                </a:lnTo>
                <a:lnTo>
                  <a:pt x="563" y="340"/>
                </a:lnTo>
                <a:lnTo>
                  <a:pt x="575" y="323"/>
                </a:lnTo>
                <a:lnTo>
                  <a:pt x="588" y="322"/>
                </a:lnTo>
                <a:lnTo>
                  <a:pt x="601" y="321"/>
                </a:lnTo>
                <a:lnTo>
                  <a:pt x="612" y="317"/>
                </a:lnTo>
                <a:lnTo>
                  <a:pt x="624" y="314"/>
                </a:lnTo>
                <a:lnTo>
                  <a:pt x="634" y="308"/>
                </a:lnTo>
                <a:lnTo>
                  <a:pt x="644" y="302"/>
                </a:lnTo>
                <a:lnTo>
                  <a:pt x="653" y="295"/>
                </a:lnTo>
                <a:lnTo>
                  <a:pt x="663" y="286"/>
                </a:lnTo>
                <a:lnTo>
                  <a:pt x="672" y="274"/>
                </a:lnTo>
                <a:lnTo>
                  <a:pt x="682" y="261"/>
                </a:lnTo>
                <a:lnTo>
                  <a:pt x="690" y="248"/>
                </a:lnTo>
                <a:lnTo>
                  <a:pt x="696" y="233"/>
                </a:lnTo>
                <a:lnTo>
                  <a:pt x="702" y="219"/>
                </a:lnTo>
                <a:lnTo>
                  <a:pt x="707" y="203"/>
                </a:lnTo>
                <a:lnTo>
                  <a:pt x="711" y="188"/>
                </a:lnTo>
                <a:lnTo>
                  <a:pt x="713" y="171"/>
                </a:lnTo>
                <a:lnTo>
                  <a:pt x="718" y="141"/>
                </a:lnTo>
                <a:lnTo>
                  <a:pt x="719" y="113"/>
                </a:lnTo>
                <a:lnTo>
                  <a:pt x="720" y="88"/>
                </a:lnTo>
                <a:lnTo>
                  <a:pt x="719" y="69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" name="Rectangle 5">
            <a:extLst>
              <a:ext uri="{FF2B5EF4-FFF2-40B4-BE49-F238E27FC236}">
                <a16:creationId xmlns:a16="http://schemas.microsoft.com/office/drawing/2014/main" id="{26B8EBBA-5D07-485C-BC5E-A310B25F5D65}"/>
              </a:ext>
            </a:extLst>
          </p:cNvPr>
          <p:cNvSpPr/>
          <p:nvPr/>
        </p:nvSpPr>
        <p:spPr>
          <a:xfrm>
            <a:off x="-145143" y="632389"/>
            <a:ext cx="12482286" cy="6089086"/>
          </a:xfrm>
          <a:custGeom>
            <a:avLst/>
            <a:gdLst>
              <a:gd name="connsiteX0" fmla="*/ 0 w 11582400"/>
              <a:gd name="connsiteY0" fmla="*/ 0 h 6073775"/>
              <a:gd name="connsiteX1" fmla="*/ 11582400 w 11582400"/>
              <a:gd name="connsiteY1" fmla="*/ 0 h 6073775"/>
              <a:gd name="connsiteX2" fmla="*/ 11582400 w 11582400"/>
              <a:gd name="connsiteY2" fmla="*/ 6073775 h 6073775"/>
              <a:gd name="connsiteX3" fmla="*/ 0 w 11582400"/>
              <a:gd name="connsiteY3" fmla="*/ 6073775 h 6073775"/>
              <a:gd name="connsiteX4" fmla="*/ 0 w 11582400"/>
              <a:gd name="connsiteY4" fmla="*/ 0 h 6073775"/>
              <a:gd name="connsiteX0" fmla="*/ 0 w 11582400"/>
              <a:gd name="connsiteY0" fmla="*/ 6765 h 6080540"/>
              <a:gd name="connsiteX1" fmla="*/ 8309361 w 11582400"/>
              <a:gd name="connsiteY1" fmla="*/ 0 h 6080540"/>
              <a:gd name="connsiteX2" fmla="*/ 11582400 w 11582400"/>
              <a:gd name="connsiteY2" fmla="*/ 6765 h 6080540"/>
              <a:gd name="connsiteX3" fmla="*/ 11582400 w 11582400"/>
              <a:gd name="connsiteY3" fmla="*/ 6080540 h 6080540"/>
              <a:gd name="connsiteX4" fmla="*/ 0 w 11582400"/>
              <a:gd name="connsiteY4" fmla="*/ 6080540 h 6080540"/>
              <a:gd name="connsiteX5" fmla="*/ 0 w 11582400"/>
              <a:gd name="connsiteY5" fmla="*/ 6765 h 6080540"/>
              <a:gd name="connsiteX0" fmla="*/ 0 w 11582400"/>
              <a:gd name="connsiteY0" fmla="*/ 15311 h 6089086"/>
              <a:gd name="connsiteX1" fmla="*/ 3267342 w 11582400"/>
              <a:gd name="connsiteY1" fmla="*/ 0 h 6089086"/>
              <a:gd name="connsiteX2" fmla="*/ 8309361 w 11582400"/>
              <a:gd name="connsiteY2" fmla="*/ 8546 h 6089086"/>
              <a:gd name="connsiteX3" fmla="*/ 11582400 w 11582400"/>
              <a:gd name="connsiteY3" fmla="*/ 15311 h 6089086"/>
              <a:gd name="connsiteX4" fmla="*/ 11582400 w 11582400"/>
              <a:gd name="connsiteY4" fmla="*/ 6089086 h 6089086"/>
              <a:gd name="connsiteX5" fmla="*/ 0 w 11582400"/>
              <a:gd name="connsiteY5" fmla="*/ 6089086 h 6089086"/>
              <a:gd name="connsiteX6" fmla="*/ 0 w 11582400"/>
              <a:gd name="connsiteY6" fmla="*/ 15311 h 6089086"/>
              <a:gd name="connsiteX0" fmla="*/ 0 w 11582400"/>
              <a:gd name="connsiteY0" fmla="*/ 23857 h 6097632"/>
              <a:gd name="connsiteX1" fmla="*/ 3267342 w 11582400"/>
              <a:gd name="connsiteY1" fmla="*/ 8546 h 6097632"/>
              <a:gd name="connsiteX2" fmla="*/ 5386699 w 11582400"/>
              <a:gd name="connsiteY2" fmla="*/ 0 h 6097632"/>
              <a:gd name="connsiteX3" fmla="*/ 8309361 w 11582400"/>
              <a:gd name="connsiteY3" fmla="*/ 17092 h 6097632"/>
              <a:gd name="connsiteX4" fmla="*/ 11582400 w 11582400"/>
              <a:gd name="connsiteY4" fmla="*/ 23857 h 6097632"/>
              <a:gd name="connsiteX5" fmla="*/ 11582400 w 11582400"/>
              <a:gd name="connsiteY5" fmla="*/ 6097632 h 6097632"/>
              <a:gd name="connsiteX6" fmla="*/ 0 w 11582400"/>
              <a:gd name="connsiteY6" fmla="*/ 6097632 h 6097632"/>
              <a:gd name="connsiteX7" fmla="*/ 0 w 11582400"/>
              <a:gd name="connsiteY7" fmla="*/ 23857 h 6097632"/>
              <a:gd name="connsiteX0" fmla="*/ 5386699 w 11582400"/>
              <a:gd name="connsiteY0" fmla="*/ 0 h 6097632"/>
              <a:gd name="connsiteX1" fmla="*/ 8309361 w 11582400"/>
              <a:gd name="connsiteY1" fmla="*/ 17092 h 6097632"/>
              <a:gd name="connsiteX2" fmla="*/ 11582400 w 11582400"/>
              <a:gd name="connsiteY2" fmla="*/ 23857 h 6097632"/>
              <a:gd name="connsiteX3" fmla="*/ 11582400 w 11582400"/>
              <a:gd name="connsiteY3" fmla="*/ 6097632 h 6097632"/>
              <a:gd name="connsiteX4" fmla="*/ 0 w 11582400"/>
              <a:gd name="connsiteY4" fmla="*/ 6097632 h 6097632"/>
              <a:gd name="connsiteX5" fmla="*/ 0 w 11582400"/>
              <a:gd name="connsiteY5" fmla="*/ 23857 h 6097632"/>
              <a:gd name="connsiteX6" fmla="*/ 3267342 w 11582400"/>
              <a:gd name="connsiteY6" fmla="*/ 8546 h 6097632"/>
              <a:gd name="connsiteX7" fmla="*/ 5478139 w 11582400"/>
              <a:gd name="connsiteY7" fmla="*/ 91440 h 6097632"/>
              <a:gd name="connsiteX0" fmla="*/ 8309361 w 11582400"/>
              <a:gd name="connsiteY0" fmla="*/ 8616 h 6089156"/>
              <a:gd name="connsiteX1" fmla="*/ 11582400 w 11582400"/>
              <a:gd name="connsiteY1" fmla="*/ 15381 h 6089156"/>
              <a:gd name="connsiteX2" fmla="*/ 11582400 w 11582400"/>
              <a:gd name="connsiteY2" fmla="*/ 6089156 h 6089156"/>
              <a:gd name="connsiteX3" fmla="*/ 0 w 11582400"/>
              <a:gd name="connsiteY3" fmla="*/ 6089156 h 6089156"/>
              <a:gd name="connsiteX4" fmla="*/ 0 w 11582400"/>
              <a:gd name="connsiteY4" fmla="*/ 15381 h 6089156"/>
              <a:gd name="connsiteX5" fmla="*/ 3267342 w 11582400"/>
              <a:gd name="connsiteY5" fmla="*/ 70 h 6089156"/>
              <a:gd name="connsiteX6" fmla="*/ 5478139 w 11582400"/>
              <a:gd name="connsiteY6" fmla="*/ 82964 h 6089156"/>
              <a:gd name="connsiteX0" fmla="*/ 8309361 w 11582400"/>
              <a:gd name="connsiteY0" fmla="*/ 8546 h 6089086"/>
              <a:gd name="connsiteX1" fmla="*/ 11582400 w 11582400"/>
              <a:gd name="connsiteY1" fmla="*/ 15311 h 6089086"/>
              <a:gd name="connsiteX2" fmla="*/ 11582400 w 11582400"/>
              <a:gd name="connsiteY2" fmla="*/ 6089086 h 6089086"/>
              <a:gd name="connsiteX3" fmla="*/ 0 w 11582400"/>
              <a:gd name="connsiteY3" fmla="*/ 6089086 h 6089086"/>
              <a:gd name="connsiteX4" fmla="*/ 0 w 11582400"/>
              <a:gd name="connsiteY4" fmla="*/ 15311 h 6089086"/>
              <a:gd name="connsiteX5" fmla="*/ 3267342 w 11582400"/>
              <a:gd name="connsiteY5" fmla="*/ 0 h 60890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582400" h="6089086">
                <a:moveTo>
                  <a:pt x="8309361" y="8546"/>
                </a:moveTo>
                <a:lnTo>
                  <a:pt x="11582400" y="15311"/>
                </a:lnTo>
                <a:lnTo>
                  <a:pt x="11582400" y="6089086"/>
                </a:lnTo>
                <a:lnTo>
                  <a:pt x="0" y="6089086"/>
                </a:lnTo>
                <a:lnTo>
                  <a:pt x="0" y="15311"/>
                </a:lnTo>
                <a:lnTo>
                  <a:pt x="3267342" y="0"/>
                </a:lnTo>
              </a:path>
            </a:pathLst>
          </a:custGeom>
          <a:noFill/>
          <a:ln w="6350">
            <a:solidFill>
              <a:schemeClr val="accent2"/>
            </a:solidFill>
            <a:headEnd type="oval"/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610016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C094B0E2-52F1-47A9-B0CD-64F57F5DE476}"/>
              </a:ext>
            </a:extLst>
          </p:cNvPr>
          <p:cNvSpPr txBox="1"/>
          <p:nvPr/>
        </p:nvSpPr>
        <p:spPr>
          <a:xfrm>
            <a:off x="190500" y="241300"/>
            <a:ext cx="11811000" cy="8002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3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rPr>
              <a:t>Project Management</a:t>
            </a:r>
          </a:p>
          <a:p>
            <a:pPr algn="ctr"/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rPr>
              <a:t>Template Pack</a:t>
            </a:r>
            <a:endParaRPr lang="id-ID" sz="20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ABA8D8A-3C74-47D4-9A47-6C113AB1DC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65069E-FEA1-427A-A048-CF60E8D1D63F}" type="datetime1">
              <a:rPr lang="en-US" sz="1000" smtClean="0"/>
              <a:t>5/8/2019</a:t>
            </a:fld>
            <a:endParaRPr lang="en-US" sz="10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28A193C-DE62-45B9-BC6C-339547738B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EFC3F0-C584-483B-B1FE-52BE924CB19D}" type="slidenum">
              <a:rPr lang="en-US" sz="1000" smtClean="0"/>
              <a:t>3</a:t>
            </a:fld>
            <a:endParaRPr lang="en-US" sz="1000"/>
          </a:p>
        </p:txBody>
      </p:sp>
      <p:sp>
        <p:nvSpPr>
          <p:cNvPr id="8" name="Half Frame 7">
            <a:extLst>
              <a:ext uri="{FF2B5EF4-FFF2-40B4-BE49-F238E27FC236}">
                <a16:creationId xmlns:a16="http://schemas.microsoft.com/office/drawing/2014/main" id="{9653E252-DFBA-493D-AE06-F741288F4395}"/>
              </a:ext>
            </a:extLst>
          </p:cNvPr>
          <p:cNvSpPr/>
          <p:nvPr/>
        </p:nvSpPr>
        <p:spPr>
          <a:xfrm rot="2700000">
            <a:off x="5279321" y="1603829"/>
            <a:ext cx="1633360" cy="1633360"/>
          </a:xfrm>
          <a:prstGeom prst="halfFram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4" name="Half Frame 53">
            <a:extLst>
              <a:ext uri="{FF2B5EF4-FFF2-40B4-BE49-F238E27FC236}">
                <a16:creationId xmlns:a16="http://schemas.microsoft.com/office/drawing/2014/main" id="{1CE4B2A0-4692-41CC-873E-BB10F5B56666}"/>
              </a:ext>
            </a:extLst>
          </p:cNvPr>
          <p:cNvSpPr/>
          <p:nvPr/>
        </p:nvSpPr>
        <p:spPr>
          <a:xfrm rot="18900000" flipV="1">
            <a:off x="5279321" y="4230411"/>
            <a:ext cx="1633360" cy="1633360"/>
          </a:xfrm>
          <a:prstGeom prst="halfFram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5" name="Half Frame 54">
            <a:extLst>
              <a:ext uri="{FF2B5EF4-FFF2-40B4-BE49-F238E27FC236}">
                <a16:creationId xmlns:a16="http://schemas.microsoft.com/office/drawing/2014/main" id="{AE71E9E1-48F0-4A0E-8A12-1DEFDBF84CB3}"/>
              </a:ext>
            </a:extLst>
          </p:cNvPr>
          <p:cNvSpPr/>
          <p:nvPr/>
        </p:nvSpPr>
        <p:spPr>
          <a:xfrm rot="13500000" flipV="1">
            <a:off x="6592611" y="2917120"/>
            <a:ext cx="1633360" cy="1633360"/>
          </a:xfrm>
          <a:prstGeom prst="halfFram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8" name="Half Frame 57">
            <a:extLst>
              <a:ext uri="{FF2B5EF4-FFF2-40B4-BE49-F238E27FC236}">
                <a16:creationId xmlns:a16="http://schemas.microsoft.com/office/drawing/2014/main" id="{4B329542-A801-496B-8B24-EDD8F3BE2436}"/>
              </a:ext>
            </a:extLst>
          </p:cNvPr>
          <p:cNvSpPr/>
          <p:nvPr/>
        </p:nvSpPr>
        <p:spPr>
          <a:xfrm rot="8100000" flipH="1" flipV="1">
            <a:off x="3966029" y="2917120"/>
            <a:ext cx="1633360" cy="1633360"/>
          </a:xfrm>
          <a:prstGeom prst="halfFram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5" name="Diamond 14">
            <a:extLst>
              <a:ext uri="{FF2B5EF4-FFF2-40B4-BE49-F238E27FC236}">
                <a16:creationId xmlns:a16="http://schemas.microsoft.com/office/drawing/2014/main" id="{410A4BA4-2952-42B8-9C94-6C952E037BBD}"/>
              </a:ext>
            </a:extLst>
          </p:cNvPr>
          <p:cNvSpPr/>
          <p:nvPr/>
        </p:nvSpPr>
        <p:spPr>
          <a:xfrm>
            <a:off x="4173109" y="1809729"/>
            <a:ext cx="1219200" cy="1219200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Diamond 58">
            <a:extLst>
              <a:ext uri="{FF2B5EF4-FFF2-40B4-BE49-F238E27FC236}">
                <a16:creationId xmlns:a16="http://schemas.microsoft.com/office/drawing/2014/main" id="{F77561F6-0F11-4D59-9A7C-485F2668614D}"/>
              </a:ext>
            </a:extLst>
          </p:cNvPr>
          <p:cNvSpPr/>
          <p:nvPr/>
        </p:nvSpPr>
        <p:spPr>
          <a:xfrm>
            <a:off x="6799693" y="1809729"/>
            <a:ext cx="1219200" cy="1219200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Diamond 63">
            <a:extLst>
              <a:ext uri="{FF2B5EF4-FFF2-40B4-BE49-F238E27FC236}">
                <a16:creationId xmlns:a16="http://schemas.microsoft.com/office/drawing/2014/main" id="{7A27DDC3-D2BB-4AD4-8F19-67AD8DCE3162}"/>
              </a:ext>
            </a:extLst>
          </p:cNvPr>
          <p:cNvSpPr/>
          <p:nvPr/>
        </p:nvSpPr>
        <p:spPr>
          <a:xfrm>
            <a:off x="4173109" y="4438671"/>
            <a:ext cx="1219200" cy="1219200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" name="Diamond 64">
            <a:extLst>
              <a:ext uri="{FF2B5EF4-FFF2-40B4-BE49-F238E27FC236}">
                <a16:creationId xmlns:a16="http://schemas.microsoft.com/office/drawing/2014/main" id="{A99DCDBB-7C5D-4E73-BA37-1F28057B698F}"/>
              </a:ext>
            </a:extLst>
          </p:cNvPr>
          <p:cNvSpPr/>
          <p:nvPr/>
        </p:nvSpPr>
        <p:spPr>
          <a:xfrm>
            <a:off x="6799693" y="4438671"/>
            <a:ext cx="1219200" cy="1219200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Freeform 3886">
            <a:extLst>
              <a:ext uri="{FF2B5EF4-FFF2-40B4-BE49-F238E27FC236}">
                <a16:creationId xmlns:a16="http://schemas.microsoft.com/office/drawing/2014/main" id="{12893E81-9F76-4B35-835F-798A0E5F70C8}"/>
              </a:ext>
            </a:extLst>
          </p:cNvPr>
          <p:cNvSpPr>
            <a:spLocks noEditPoints="1"/>
          </p:cNvSpPr>
          <p:nvPr/>
        </p:nvSpPr>
        <p:spPr bwMode="auto">
          <a:xfrm>
            <a:off x="4639040" y="2276454"/>
            <a:ext cx="287338" cy="285750"/>
          </a:xfrm>
          <a:custGeom>
            <a:avLst/>
            <a:gdLst>
              <a:gd name="T0" fmla="*/ 268 w 902"/>
              <a:gd name="T1" fmla="*/ 575 h 901"/>
              <a:gd name="T2" fmla="*/ 207 w 902"/>
              <a:gd name="T3" fmla="*/ 555 h 901"/>
              <a:gd name="T4" fmla="*/ 155 w 902"/>
              <a:gd name="T5" fmla="*/ 520 h 901"/>
              <a:gd name="T6" fmla="*/ 112 w 902"/>
              <a:gd name="T7" fmla="*/ 475 h 901"/>
              <a:gd name="T8" fmla="*/ 81 w 902"/>
              <a:gd name="T9" fmla="*/ 422 h 901"/>
              <a:gd name="T10" fmla="*/ 64 w 902"/>
              <a:gd name="T11" fmla="*/ 360 h 901"/>
              <a:gd name="T12" fmla="*/ 61 w 902"/>
              <a:gd name="T13" fmla="*/ 294 h 901"/>
              <a:gd name="T14" fmla="*/ 76 w 902"/>
              <a:gd name="T15" fmla="*/ 231 h 901"/>
              <a:gd name="T16" fmla="*/ 104 w 902"/>
              <a:gd name="T17" fmla="*/ 175 h 901"/>
              <a:gd name="T18" fmla="*/ 145 w 902"/>
              <a:gd name="T19" fmla="*/ 128 h 901"/>
              <a:gd name="T20" fmla="*/ 197 w 902"/>
              <a:gd name="T21" fmla="*/ 92 h 901"/>
              <a:gd name="T22" fmla="*/ 256 w 902"/>
              <a:gd name="T23" fmla="*/ 69 h 901"/>
              <a:gd name="T24" fmla="*/ 320 w 902"/>
              <a:gd name="T25" fmla="*/ 60 h 901"/>
              <a:gd name="T26" fmla="*/ 385 w 902"/>
              <a:gd name="T27" fmla="*/ 69 h 901"/>
              <a:gd name="T28" fmla="*/ 444 w 902"/>
              <a:gd name="T29" fmla="*/ 92 h 901"/>
              <a:gd name="T30" fmla="*/ 495 w 902"/>
              <a:gd name="T31" fmla="*/ 128 h 901"/>
              <a:gd name="T32" fmla="*/ 537 w 902"/>
              <a:gd name="T33" fmla="*/ 175 h 901"/>
              <a:gd name="T34" fmla="*/ 564 w 902"/>
              <a:gd name="T35" fmla="*/ 231 h 901"/>
              <a:gd name="T36" fmla="*/ 579 w 902"/>
              <a:gd name="T37" fmla="*/ 294 h 901"/>
              <a:gd name="T38" fmla="*/ 577 w 902"/>
              <a:gd name="T39" fmla="*/ 360 h 901"/>
              <a:gd name="T40" fmla="*/ 560 w 902"/>
              <a:gd name="T41" fmla="*/ 422 h 901"/>
              <a:gd name="T42" fmla="*/ 529 w 902"/>
              <a:gd name="T43" fmla="*/ 475 h 901"/>
              <a:gd name="T44" fmla="*/ 486 w 902"/>
              <a:gd name="T45" fmla="*/ 520 h 901"/>
              <a:gd name="T46" fmla="*/ 432 w 902"/>
              <a:gd name="T47" fmla="*/ 555 h 901"/>
              <a:gd name="T48" fmla="*/ 372 w 902"/>
              <a:gd name="T49" fmla="*/ 575 h 901"/>
              <a:gd name="T50" fmla="*/ 320 w 902"/>
              <a:gd name="T51" fmla="*/ 580 h 901"/>
              <a:gd name="T52" fmla="*/ 591 w 902"/>
              <a:gd name="T53" fmla="*/ 491 h 901"/>
              <a:gd name="T54" fmla="*/ 621 w 902"/>
              <a:gd name="T55" fmla="*/ 430 h 901"/>
              <a:gd name="T56" fmla="*/ 637 w 902"/>
              <a:gd name="T57" fmla="*/ 363 h 901"/>
              <a:gd name="T58" fmla="*/ 638 w 902"/>
              <a:gd name="T59" fmla="*/ 288 h 901"/>
              <a:gd name="T60" fmla="*/ 621 w 902"/>
              <a:gd name="T61" fmla="*/ 211 h 901"/>
              <a:gd name="T62" fmla="*/ 586 w 902"/>
              <a:gd name="T63" fmla="*/ 142 h 901"/>
              <a:gd name="T64" fmla="*/ 535 w 902"/>
              <a:gd name="T65" fmla="*/ 83 h 901"/>
              <a:gd name="T66" fmla="*/ 473 w 902"/>
              <a:gd name="T67" fmla="*/ 39 h 901"/>
              <a:gd name="T68" fmla="*/ 400 w 902"/>
              <a:gd name="T69" fmla="*/ 10 h 901"/>
              <a:gd name="T70" fmla="*/ 320 w 902"/>
              <a:gd name="T71" fmla="*/ 0 h 901"/>
              <a:gd name="T72" fmla="*/ 241 w 902"/>
              <a:gd name="T73" fmla="*/ 10 h 901"/>
              <a:gd name="T74" fmla="*/ 168 w 902"/>
              <a:gd name="T75" fmla="*/ 39 h 901"/>
              <a:gd name="T76" fmla="*/ 105 w 902"/>
              <a:gd name="T77" fmla="*/ 83 h 901"/>
              <a:gd name="T78" fmla="*/ 55 w 902"/>
              <a:gd name="T79" fmla="*/ 142 h 901"/>
              <a:gd name="T80" fmla="*/ 20 w 902"/>
              <a:gd name="T81" fmla="*/ 211 h 901"/>
              <a:gd name="T82" fmla="*/ 1 w 902"/>
              <a:gd name="T83" fmla="*/ 288 h 901"/>
              <a:gd name="T84" fmla="*/ 3 w 902"/>
              <a:gd name="T85" fmla="*/ 369 h 901"/>
              <a:gd name="T86" fmla="*/ 25 w 902"/>
              <a:gd name="T87" fmla="*/ 445 h 901"/>
              <a:gd name="T88" fmla="*/ 64 w 902"/>
              <a:gd name="T89" fmla="*/ 512 h 901"/>
              <a:gd name="T90" fmla="*/ 117 w 902"/>
              <a:gd name="T91" fmla="*/ 568 h 901"/>
              <a:gd name="T92" fmla="*/ 182 w 902"/>
              <a:gd name="T93" fmla="*/ 608 h 901"/>
              <a:gd name="T94" fmla="*/ 256 w 902"/>
              <a:gd name="T95" fmla="*/ 634 h 901"/>
              <a:gd name="T96" fmla="*/ 335 w 902"/>
              <a:gd name="T97" fmla="*/ 641 h 901"/>
              <a:gd name="T98" fmla="*/ 405 w 902"/>
              <a:gd name="T99" fmla="*/ 630 h 901"/>
              <a:gd name="T100" fmla="*/ 468 w 902"/>
              <a:gd name="T101" fmla="*/ 604 h 901"/>
              <a:gd name="T102" fmla="*/ 525 w 902"/>
              <a:gd name="T103" fmla="*/ 567 h 901"/>
              <a:gd name="T104" fmla="*/ 871 w 902"/>
              <a:gd name="T105" fmla="*/ 901 h 901"/>
              <a:gd name="T106" fmla="*/ 897 w 902"/>
              <a:gd name="T107" fmla="*/ 888 h 901"/>
              <a:gd name="T108" fmla="*/ 899 w 902"/>
              <a:gd name="T109" fmla="*/ 860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902" h="901">
                <a:moveTo>
                  <a:pt x="320" y="580"/>
                </a:moveTo>
                <a:lnTo>
                  <a:pt x="307" y="580"/>
                </a:lnTo>
                <a:lnTo>
                  <a:pt x="294" y="579"/>
                </a:lnTo>
                <a:lnTo>
                  <a:pt x="281" y="577"/>
                </a:lnTo>
                <a:lnTo>
                  <a:pt x="268" y="575"/>
                </a:lnTo>
                <a:lnTo>
                  <a:pt x="256" y="572"/>
                </a:lnTo>
                <a:lnTo>
                  <a:pt x="243" y="569"/>
                </a:lnTo>
                <a:lnTo>
                  <a:pt x="231" y="564"/>
                </a:lnTo>
                <a:lnTo>
                  <a:pt x="219" y="560"/>
                </a:lnTo>
                <a:lnTo>
                  <a:pt x="207" y="555"/>
                </a:lnTo>
                <a:lnTo>
                  <a:pt x="197" y="549"/>
                </a:lnTo>
                <a:lnTo>
                  <a:pt x="186" y="543"/>
                </a:lnTo>
                <a:lnTo>
                  <a:pt x="175" y="535"/>
                </a:lnTo>
                <a:lnTo>
                  <a:pt x="164" y="529"/>
                </a:lnTo>
                <a:lnTo>
                  <a:pt x="155" y="520"/>
                </a:lnTo>
                <a:lnTo>
                  <a:pt x="145" y="513"/>
                </a:lnTo>
                <a:lnTo>
                  <a:pt x="136" y="504"/>
                </a:lnTo>
                <a:lnTo>
                  <a:pt x="128" y="495"/>
                </a:lnTo>
                <a:lnTo>
                  <a:pt x="119" y="486"/>
                </a:lnTo>
                <a:lnTo>
                  <a:pt x="112" y="475"/>
                </a:lnTo>
                <a:lnTo>
                  <a:pt x="104" y="466"/>
                </a:lnTo>
                <a:lnTo>
                  <a:pt x="98" y="455"/>
                </a:lnTo>
                <a:lnTo>
                  <a:pt x="91" y="444"/>
                </a:lnTo>
                <a:lnTo>
                  <a:pt x="86" y="432"/>
                </a:lnTo>
                <a:lnTo>
                  <a:pt x="81" y="422"/>
                </a:lnTo>
                <a:lnTo>
                  <a:pt x="76" y="410"/>
                </a:lnTo>
                <a:lnTo>
                  <a:pt x="72" y="397"/>
                </a:lnTo>
                <a:lnTo>
                  <a:pt x="69" y="385"/>
                </a:lnTo>
                <a:lnTo>
                  <a:pt x="66" y="372"/>
                </a:lnTo>
                <a:lnTo>
                  <a:pt x="64" y="360"/>
                </a:lnTo>
                <a:lnTo>
                  <a:pt x="61" y="347"/>
                </a:lnTo>
                <a:lnTo>
                  <a:pt x="60" y="334"/>
                </a:lnTo>
                <a:lnTo>
                  <a:pt x="60" y="320"/>
                </a:lnTo>
                <a:lnTo>
                  <a:pt x="60" y="307"/>
                </a:lnTo>
                <a:lnTo>
                  <a:pt x="61" y="294"/>
                </a:lnTo>
                <a:lnTo>
                  <a:pt x="64" y="281"/>
                </a:lnTo>
                <a:lnTo>
                  <a:pt x="66" y="268"/>
                </a:lnTo>
                <a:lnTo>
                  <a:pt x="69" y="256"/>
                </a:lnTo>
                <a:lnTo>
                  <a:pt x="72" y="243"/>
                </a:lnTo>
                <a:lnTo>
                  <a:pt x="76" y="231"/>
                </a:lnTo>
                <a:lnTo>
                  <a:pt x="81" y="219"/>
                </a:lnTo>
                <a:lnTo>
                  <a:pt x="86" y="207"/>
                </a:lnTo>
                <a:lnTo>
                  <a:pt x="91" y="197"/>
                </a:lnTo>
                <a:lnTo>
                  <a:pt x="98" y="186"/>
                </a:lnTo>
                <a:lnTo>
                  <a:pt x="104" y="175"/>
                </a:lnTo>
                <a:lnTo>
                  <a:pt x="112" y="164"/>
                </a:lnTo>
                <a:lnTo>
                  <a:pt x="119" y="155"/>
                </a:lnTo>
                <a:lnTo>
                  <a:pt x="128" y="145"/>
                </a:lnTo>
                <a:lnTo>
                  <a:pt x="136" y="137"/>
                </a:lnTo>
                <a:lnTo>
                  <a:pt x="145" y="128"/>
                </a:lnTo>
                <a:lnTo>
                  <a:pt x="155" y="119"/>
                </a:lnTo>
                <a:lnTo>
                  <a:pt x="164" y="112"/>
                </a:lnTo>
                <a:lnTo>
                  <a:pt x="175" y="104"/>
                </a:lnTo>
                <a:lnTo>
                  <a:pt x="186" y="98"/>
                </a:lnTo>
                <a:lnTo>
                  <a:pt x="197" y="92"/>
                </a:lnTo>
                <a:lnTo>
                  <a:pt x="207" y="86"/>
                </a:lnTo>
                <a:lnTo>
                  <a:pt x="219" y="81"/>
                </a:lnTo>
                <a:lnTo>
                  <a:pt x="231" y="77"/>
                </a:lnTo>
                <a:lnTo>
                  <a:pt x="243" y="72"/>
                </a:lnTo>
                <a:lnTo>
                  <a:pt x="256" y="69"/>
                </a:lnTo>
                <a:lnTo>
                  <a:pt x="268" y="66"/>
                </a:lnTo>
                <a:lnTo>
                  <a:pt x="281" y="64"/>
                </a:lnTo>
                <a:lnTo>
                  <a:pt x="294" y="61"/>
                </a:lnTo>
                <a:lnTo>
                  <a:pt x="307" y="60"/>
                </a:lnTo>
                <a:lnTo>
                  <a:pt x="320" y="60"/>
                </a:lnTo>
                <a:lnTo>
                  <a:pt x="334" y="60"/>
                </a:lnTo>
                <a:lnTo>
                  <a:pt x="347" y="61"/>
                </a:lnTo>
                <a:lnTo>
                  <a:pt x="360" y="64"/>
                </a:lnTo>
                <a:lnTo>
                  <a:pt x="372" y="66"/>
                </a:lnTo>
                <a:lnTo>
                  <a:pt x="385" y="69"/>
                </a:lnTo>
                <a:lnTo>
                  <a:pt x="397" y="72"/>
                </a:lnTo>
                <a:lnTo>
                  <a:pt x="410" y="77"/>
                </a:lnTo>
                <a:lnTo>
                  <a:pt x="422" y="81"/>
                </a:lnTo>
                <a:lnTo>
                  <a:pt x="432" y="86"/>
                </a:lnTo>
                <a:lnTo>
                  <a:pt x="444" y="92"/>
                </a:lnTo>
                <a:lnTo>
                  <a:pt x="455" y="98"/>
                </a:lnTo>
                <a:lnTo>
                  <a:pt x="466" y="104"/>
                </a:lnTo>
                <a:lnTo>
                  <a:pt x="475" y="112"/>
                </a:lnTo>
                <a:lnTo>
                  <a:pt x="486" y="119"/>
                </a:lnTo>
                <a:lnTo>
                  <a:pt x="495" y="128"/>
                </a:lnTo>
                <a:lnTo>
                  <a:pt x="504" y="137"/>
                </a:lnTo>
                <a:lnTo>
                  <a:pt x="513" y="145"/>
                </a:lnTo>
                <a:lnTo>
                  <a:pt x="522" y="155"/>
                </a:lnTo>
                <a:lnTo>
                  <a:pt x="529" y="164"/>
                </a:lnTo>
                <a:lnTo>
                  <a:pt x="537" y="175"/>
                </a:lnTo>
                <a:lnTo>
                  <a:pt x="543" y="186"/>
                </a:lnTo>
                <a:lnTo>
                  <a:pt x="549" y="197"/>
                </a:lnTo>
                <a:lnTo>
                  <a:pt x="555" y="207"/>
                </a:lnTo>
                <a:lnTo>
                  <a:pt x="560" y="219"/>
                </a:lnTo>
                <a:lnTo>
                  <a:pt x="564" y="231"/>
                </a:lnTo>
                <a:lnTo>
                  <a:pt x="569" y="243"/>
                </a:lnTo>
                <a:lnTo>
                  <a:pt x="572" y="256"/>
                </a:lnTo>
                <a:lnTo>
                  <a:pt x="575" y="268"/>
                </a:lnTo>
                <a:lnTo>
                  <a:pt x="577" y="281"/>
                </a:lnTo>
                <a:lnTo>
                  <a:pt x="579" y="294"/>
                </a:lnTo>
                <a:lnTo>
                  <a:pt x="580" y="307"/>
                </a:lnTo>
                <a:lnTo>
                  <a:pt x="580" y="320"/>
                </a:lnTo>
                <a:lnTo>
                  <a:pt x="580" y="334"/>
                </a:lnTo>
                <a:lnTo>
                  <a:pt x="579" y="347"/>
                </a:lnTo>
                <a:lnTo>
                  <a:pt x="577" y="360"/>
                </a:lnTo>
                <a:lnTo>
                  <a:pt x="575" y="372"/>
                </a:lnTo>
                <a:lnTo>
                  <a:pt x="572" y="385"/>
                </a:lnTo>
                <a:lnTo>
                  <a:pt x="569" y="397"/>
                </a:lnTo>
                <a:lnTo>
                  <a:pt x="564" y="410"/>
                </a:lnTo>
                <a:lnTo>
                  <a:pt x="560" y="422"/>
                </a:lnTo>
                <a:lnTo>
                  <a:pt x="555" y="432"/>
                </a:lnTo>
                <a:lnTo>
                  <a:pt x="549" y="444"/>
                </a:lnTo>
                <a:lnTo>
                  <a:pt x="543" y="455"/>
                </a:lnTo>
                <a:lnTo>
                  <a:pt x="537" y="466"/>
                </a:lnTo>
                <a:lnTo>
                  <a:pt x="529" y="475"/>
                </a:lnTo>
                <a:lnTo>
                  <a:pt x="522" y="486"/>
                </a:lnTo>
                <a:lnTo>
                  <a:pt x="513" y="495"/>
                </a:lnTo>
                <a:lnTo>
                  <a:pt x="504" y="504"/>
                </a:lnTo>
                <a:lnTo>
                  <a:pt x="495" y="513"/>
                </a:lnTo>
                <a:lnTo>
                  <a:pt x="486" y="520"/>
                </a:lnTo>
                <a:lnTo>
                  <a:pt x="475" y="529"/>
                </a:lnTo>
                <a:lnTo>
                  <a:pt x="466" y="535"/>
                </a:lnTo>
                <a:lnTo>
                  <a:pt x="455" y="543"/>
                </a:lnTo>
                <a:lnTo>
                  <a:pt x="444" y="549"/>
                </a:lnTo>
                <a:lnTo>
                  <a:pt x="432" y="555"/>
                </a:lnTo>
                <a:lnTo>
                  <a:pt x="422" y="560"/>
                </a:lnTo>
                <a:lnTo>
                  <a:pt x="410" y="564"/>
                </a:lnTo>
                <a:lnTo>
                  <a:pt x="397" y="569"/>
                </a:lnTo>
                <a:lnTo>
                  <a:pt x="385" y="572"/>
                </a:lnTo>
                <a:lnTo>
                  <a:pt x="372" y="575"/>
                </a:lnTo>
                <a:lnTo>
                  <a:pt x="360" y="577"/>
                </a:lnTo>
                <a:lnTo>
                  <a:pt x="347" y="579"/>
                </a:lnTo>
                <a:lnTo>
                  <a:pt x="334" y="580"/>
                </a:lnTo>
                <a:lnTo>
                  <a:pt x="320" y="580"/>
                </a:lnTo>
                <a:lnTo>
                  <a:pt x="320" y="580"/>
                </a:lnTo>
                <a:close/>
                <a:moveTo>
                  <a:pt x="893" y="851"/>
                </a:moveTo>
                <a:lnTo>
                  <a:pt x="567" y="525"/>
                </a:lnTo>
                <a:lnTo>
                  <a:pt x="575" y="514"/>
                </a:lnTo>
                <a:lnTo>
                  <a:pt x="584" y="503"/>
                </a:lnTo>
                <a:lnTo>
                  <a:pt x="591" y="491"/>
                </a:lnTo>
                <a:lnTo>
                  <a:pt x="598" y="480"/>
                </a:lnTo>
                <a:lnTo>
                  <a:pt x="604" y="468"/>
                </a:lnTo>
                <a:lnTo>
                  <a:pt x="611" y="456"/>
                </a:lnTo>
                <a:lnTo>
                  <a:pt x="616" y="443"/>
                </a:lnTo>
                <a:lnTo>
                  <a:pt x="621" y="430"/>
                </a:lnTo>
                <a:lnTo>
                  <a:pt x="626" y="417"/>
                </a:lnTo>
                <a:lnTo>
                  <a:pt x="630" y="405"/>
                </a:lnTo>
                <a:lnTo>
                  <a:pt x="633" y="391"/>
                </a:lnTo>
                <a:lnTo>
                  <a:pt x="635" y="377"/>
                </a:lnTo>
                <a:lnTo>
                  <a:pt x="637" y="363"/>
                </a:lnTo>
                <a:lnTo>
                  <a:pt x="639" y="349"/>
                </a:lnTo>
                <a:lnTo>
                  <a:pt x="641" y="335"/>
                </a:lnTo>
                <a:lnTo>
                  <a:pt x="641" y="320"/>
                </a:lnTo>
                <a:lnTo>
                  <a:pt x="641" y="304"/>
                </a:lnTo>
                <a:lnTo>
                  <a:pt x="638" y="288"/>
                </a:lnTo>
                <a:lnTo>
                  <a:pt x="637" y="272"/>
                </a:lnTo>
                <a:lnTo>
                  <a:pt x="634" y="256"/>
                </a:lnTo>
                <a:lnTo>
                  <a:pt x="631" y="241"/>
                </a:lnTo>
                <a:lnTo>
                  <a:pt x="627" y="226"/>
                </a:lnTo>
                <a:lnTo>
                  <a:pt x="621" y="211"/>
                </a:lnTo>
                <a:lnTo>
                  <a:pt x="616" y="196"/>
                </a:lnTo>
                <a:lnTo>
                  <a:pt x="609" y="182"/>
                </a:lnTo>
                <a:lnTo>
                  <a:pt x="602" y="168"/>
                </a:lnTo>
                <a:lnTo>
                  <a:pt x="594" y="155"/>
                </a:lnTo>
                <a:lnTo>
                  <a:pt x="586" y="142"/>
                </a:lnTo>
                <a:lnTo>
                  <a:pt x="577" y="129"/>
                </a:lnTo>
                <a:lnTo>
                  <a:pt x="568" y="117"/>
                </a:lnTo>
                <a:lnTo>
                  <a:pt x="557" y="105"/>
                </a:lnTo>
                <a:lnTo>
                  <a:pt x="546" y="94"/>
                </a:lnTo>
                <a:lnTo>
                  <a:pt x="535" y="83"/>
                </a:lnTo>
                <a:lnTo>
                  <a:pt x="524" y="73"/>
                </a:lnTo>
                <a:lnTo>
                  <a:pt x="512" y="64"/>
                </a:lnTo>
                <a:lnTo>
                  <a:pt x="499" y="55"/>
                </a:lnTo>
                <a:lnTo>
                  <a:pt x="486" y="46"/>
                </a:lnTo>
                <a:lnTo>
                  <a:pt x="473" y="39"/>
                </a:lnTo>
                <a:lnTo>
                  <a:pt x="459" y="31"/>
                </a:lnTo>
                <a:lnTo>
                  <a:pt x="445" y="25"/>
                </a:lnTo>
                <a:lnTo>
                  <a:pt x="430" y="20"/>
                </a:lnTo>
                <a:lnTo>
                  <a:pt x="415" y="14"/>
                </a:lnTo>
                <a:lnTo>
                  <a:pt x="400" y="10"/>
                </a:lnTo>
                <a:lnTo>
                  <a:pt x="385" y="7"/>
                </a:lnTo>
                <a:lnTo>
                  <a:pt x="369" y="4"/>
                </a:lnTo>
                <a:lnTo>
                  <a:pt x="353" y="1"/>
                </a:lnTo>
                <a:lnTo>
                  <a:pt x="337" y="0"/>
                </a:lnTo>
                <a:lnTo>
                  <a:pt x="320" y="0"/>
                </a:lnTo>
                <a:lnTo>
                  <a:pt x="304" y="0"/>
                </a:lnTo>
                <a:lnTo>
                  <a:pt x="288" y="1"/>
                </a:lnTo>
                <a:lnTo>
                  <a:pt x="272" y="4"/>
                </a:lnTo>
                <a:lnTo>
                  <a:pt x="256" y="7"/>
                </a:lnTo>
                <a:lnTo>
                  <a:pt x="241" y="10"/>
                </a:lnTo>
                <a:lnTo>
                  <a:pt x="225" y="14"/>
                </a:lnTo>
                <a:lnTo>
                  <a:pt x="210" y="20"/>
                </a:lnTo>
                <a:lnTo>
                  <a:pt x="195" y="25"/>
                </a:lnTo>
                <a:lnTo>
                  <a:pt x="182" y="31"/>
                </a:lnTo>
                <a:lnTo>
                  <a:pt x="168" y="39"/>
                </a:lnTo>
                <a:lnTo>
                  <a:pt x="155" y="46"/>
                </a:lnTo>
                <a:lnTo>
                  <a:pt x="142" y="55"/>
                </a:lnTo>
                <a:lnTo>
                  <a:pt x="129" y="64"/>
                </a:lnTo>
                <a:lnTo>
                  <a:pt x="117" y="73"/>
                </a:lnTo>
                <a:lnTo>
                  <a:pt x="105" y="83"/>
                </a:lnTo>
                <a:lnTo>
                  <a:pt x="94" y="94"/>
                </a:lnTo>
                <a:lnTo>
                  <a:pt x="84" y="105"/>
                </a:lnTo>
                <a:lnTo>
                  <a:pt x="73" y="117"/>
                </a:lnTo>
                <a:lnTo>
                  <a:pt x="64" y="129"/>
                </a:lnTo>
                <a:lnTo>
                  <a:pt x="55" y="142"/>
                </a:lnTo>
                <a:lnTo>
                  <a:pt x="46" y="155"/>
                </a:lnTo>
                <a:lnTo>
                  <a:pt x="39" y="168"/>
                </a:lnTo>
                <a:lnTo>
                  <a:pt x="31" y="182"/>
                </a:lnTo>
                <a:lnTo>
                  <a:pt x="25" y="196"/>
                </a:lnTo>
                <a:lnTo>
                  <a:pt x="20" y="211"/>
                </a:lnTo>
                <a:lnTo>
                  <a:pt x="14" y="226"/>
                </a:lnTo>
                <a:lnTo>
                  <a:pt x="10" y="241"/>
                </a:lnTo>
                <a:lnTo>
                  <a:pt x="7" y="256"/>
                </a:lnTo>
                <a:lnTo>
                  <a:pt x="3" y="272"/>
                </a:lnTo>
                <a:lnTo>
                  <a:pt x="1" y="288"/>
                </a:lnTo>
                <a:lnTo>
                  <a:pt x="0" y="304"/>
                </a:lnTo>
                <a:lnTo>
                  <a:pt x="0" y="320"/>
                </a:lnTo>
                <a:lnTo>
                  <a:pt x="0" y="337"/>
                </a:lnTo>
                <a:lnTo>
                  <a:pt x="1" y="353"/>
                </a:lnTo>
                <a:lnTo>
                  <a:pt x="3" y="369"/>
                </a:lnTo>
                <a:lnTo>
                  <a:pt x="7" y="385"/>
                </a:lnTo>
                <a:lnTo>
                  <a:pt x="10" y="400"/>
                </a:lnTo>
                <a:lnTo>
                  <a:pt x="14" y="415"/>
                </a:lnTo>
                <a:lnTo>
                  <a:pt x="20" y="430"/>
                </a:lnTo>
                <a:lnTo>
                  <a:pt x="25" y="445"/>
                </a:lnTo>
                <a:lnTo>
                  <a:pt x="31" y="459"/>
                </a:lnTo>
                <a:lnTo>
                  <a:pt x="39" y="473"/>
                </a:lnTo>
                <a:lnTo>
                  <a:pt x="46" y="486"/>
                </a:lnTo>
                <a:lnTo>
                  <a:pt x="55" y="499"/>
                </a:lnTo>
                <a:lnTo>
                  <a:pt x="64" y="512"/>
                </a:lnTo>
                <a:lnTo>
                  <a:pt x="73" y="524"/>
                </a:lnTo>
                <a:lnTo>
                  <a:pt x="84" y="535"/>
                </a:lnTo>
                <a:lnTo>
                  <a:pt x="94" y="546"/>
                </a:lnTo>
                <a:lnTo>
                  <a:pt x="105" y="557"/>
                </a:lnTo>
                <a:lnTo>
                  <a:pt x="117" y="568"/>
                </a:lnTo>
                <a:lnTo>
                  <a:pt x="129" y="577"/>
                </a:lnTo>
                <a:lnTo>
                  <a:pt x="142" y="586"/>
                </a:lnTo>
                <a:lnTo>
                  <a:pt x="155" y="594"/>
                </a:lnTo>
                <a:lnTo>
                  <a:pt x="168" y="602"/>
                </a:lnTo>
                <a:lnTo>
                  <a:pt x="182" y="608"/>
                </a:lnTo>
                <a:lnTo>
                  <a:pt x="195" y="615"/>
                </a:lnTo>
                <a:lnTo>
                  <a:pt x="210" y="621"/>
                </a:lnTo>
                <a:lnTo>
                  <a:pt x="225" y="627"/>
                </a:lnTo>
                <a:lnTo>
                  <a:pt x="241" y="631"/>
                </a:lnTo>
                <a:lnTo>
                  <a:pt x="256" y="634"/>
                </a:lnTo>
                <a:lnTo>
                  <a:pt x="272" y="637"/>
                </a:lnTo>
                <a:lnTo>
                  <a:pt x="288" y="638"/>
                </a:lnTo>
                <a:lnTo>
                  <a:pt x="304" y="641"/>
                </a:lnTo>
                <a:lnTo>
                  <a:pt x="320" y="641"/>
                </a:lnTo>
                <a:lnTo>
                  <a:pt x="335" y="641"/>
                </a:lnTo>
                <a:lnTo>
                  <a:pt x="349" y="639"/>
                </a:lnTo>
                <a:lnTo>
                  <a:pt x="363" y="637"/>
                </a:lnTo>
                <a:lnTo>
                  <a:pt x="377" y="635"/>
                </a:lnTo>
                <a:lnTo>
                  <a:pt x="391" y="633"/>
                </a:lnTo>
                <a:lnTo>
                  <a:pt x="405" y="630"/>
                </a:lnTo>
                <a:lnTo>
                  <a:pt x="417" y="625"/>
                </a:lnTo>
                <a:lnTo>
                  <a:pt x="430" y="621"/>
                </a:lnTo>
                <a:lnTo>
                  <a:pt x="443" y="616"/>
                </a:lnTo>
                <a:lnTo>
                  <a:pt x="456" y="610"/>
                </a:lnTo>
                <a:lnTo>
                  <a:pt x="468" y="604"/>
                </a:lnTo>
                <a:lnTo>
                  <a:pt x="480" y="598"/>
                </a:lnTo>
                <a:lnTo>
                  <a:pt x="491" y="591"/>
                </a:lnTo>
                <a:lnTo>
                  <a:pt x="503" y="584"/>
                </a:lnTo>
                <a:lnTo>
                  <a:pt x="514" y="575"/>
                </a:lnTo>
                <a:lnTo>
                  <a:pt x="525" y="567"/>
                </a:lnTo>
                <a:lnTo>
                  <a:pt x="851" y="892"/>
                </a:lnTo>
                <a:lnTo>
                  <a:pt x="855" y="897"/>
                </a:lnTo>
                <a:lnTo>
                  <a:pt x="860" y="899"/>
                </a:lnTo>
                <a:lnTo>
                  <a:pt x="866" y="901"/>
                </a:lnTo>
                <a:lnTo>
                  <a:pt x="871" y="901"/>
                </a:lnTo>
                <a:lnTo>
                  <a:pt x="878" y="901"/>
                </a:lnTo>
                <a:lnTo>
                  <a:pt x="883" y="899"/>
                </a:lnTo>
                <a:lnTo>
                  <a:pt x="888" y="897"/>
                </a:lnTo>
                <a:lnTo>
                  <a:pt x="893" y="892"/>
                </a:lnTo>
                <a:lnTo>
                  <a:pt x="897" y="888"/>
                </a:lnTo>
                <a:lnTo>
                  <a:pt x="899" y="883"/>
                </a:lnTo>
                <a:lnTo>
                  <a:pt x="901" y="877"/>
                </a:lnTo>
                <a:lnTo>
                  <a:pt x="902" y="871"/>
                </a:lnTo>
                <a:lnTo>
                  <a:pt x="901" y="866"/>
                </a:lnTo>
                <a:lnTo>
                  <a:pt x="899" y="860"/>
                </a:lnTo>
                <a:lnTo>
                  <a:pt x="897" y="855"/>
                </a:lnTo>
                <a:lnTo>
                  <a:pt x="893" y="85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" name="Freeform 4665">
            <a:extLst>
              <a:ext uri="{FF2B5EF4-FFF2-40B4-BE49-F238E27FC236}">
                <a16:creationId xmlns:a16="http://schemas.microsoft.com/office/drawing/2014/main" id="{8FD920D8-6A13-4AD7-97A8-5704F65B2702}"/>
              </a:ext>
            </a:extLst>
          </p:cNvPr>
          <p:cNvSpPr>
            <a:spLocks/>
          </p:cNvSpPr>
          <p:nvPr/>
        </p:nvSpPr>
        <p:spPr bwMode="auto">
          <a:xfrm>
            <a:off x="7265624" y="2275660"/>
            <a:ext cx="287338" cy="287338"/>
          </a:xfrm>
          <a:custGeom>
            <a:avLst/>
            <a:gdLst>
              <a:gd name="T0" fmla="*/ 761 w 904"/>
              <a:gd name="T1" fmla="*/ 213 h 903"/>
              <a:gd name="T2" fmla="*/ 754 w 904"/>
              <a:gd name="T3" fmla="*/ 225 h 903"/>
              <a:gd name="T4" fmla="*/ 576 w 904"/>
              <a:gd name="T5" fmla="*/ 277 h 903"/>
              <a:gd name="T6" fmla="*/ 498 w 904"/>
              <a:gd name="T7" fmla="*/ 298 h 903"/>
              <a:gd name="T8" fmla="*/ 431 w 904"/>
              <a:gd name="T9" fmla="*/ 329 h 903"/>
              <a:gd name="T10" fmla="*/ 578 w 904"/>
              <a:gd name="T11" fmla="*/ 170 h 903"/>
              <a:gd name="T12" fmla="*/ 618 w 904"/>
              <a:gd name="T13" fmla="*/ 180 h 903"/>
              <a:gd name="T14" fmla="*/ 661 w 904"/>
              <a:gd name="T15" fmla="*/ 169 h 903"/>
              <a:gd name="T16" fmla="*/ 693 w 904"/>
              <a:gd name="T17" fmla="*/ 141 h 903"/>
              <a:gd name="T18" fmla="*/ 707 w 904"/>
              <a:gd name="T19" fmla="*/ 99 h 903"/>
              <a:gd name="T20" fmla="*/ 701 w 904"/>
              <a:gd name="T21" fmla="*/ 55 h 903"/>
              <a:gd name="T22" fmla="*/ 676 w 904"/>
              <a:gd name="T23" fmla="*/ 20 h 903"/>
              <a:gd name="T24" fmla="*/ 636 w 904"/>
              <a:gd name="T25" fmla="*/ 2 h 903"/>
              <a:gd name="T26" fmla="*/ 591 w 904"/>
              <a:gd name="T27" fmla="*/ 4 h 903"/>
              <a:gd name="T28" fmla="*/ 554 w 904"/>
              <a:gd name="T29" fmla="*/ 25 h 903"/>
              <a:gd name="T30" fmla="*/ 531 w 904"/>
              <a:gd name="T31" fmla="*/ 63 h 903"/>
              <a:gd name="T32" fmla="*/ 532 w 904"/>
              <a:gd name="T33" fmla="*/ 118 h 903"/>
              <a:gd name="T34" fmla="*/ 369 w 904"/>
              <a:gd name="T35" fmla="*/ 289 h 903"/>
              <a:gd name="T36" fmla="*/ 325 w 904"/>
              <a:gd name="T37" fmla="*/ 289 h 903"/>
              <a:gd name="T38" fmla="*/ 294 w 904"/>
              <a:gd name="T39" fmla="*/ 308 h 903"/>
              <a:gd name="T40" fmla="*/ 275 w 904"/>
              <a:gd name="T41" fmla="*/ 338 h 903"/>
              <a:gd name="T42" fmla="*/ 275 w 904"/>
              <a:gd name="T43" fmla="*/ 383 h 903"/>
              <a:gd name="T44" fmla="*/ 113 w 904"/>
              <a:gd name="T45" fmla="*/ 545 h 903"/>
              <a:gd name="T46" fmla="*/ 64 w 904"/>
              <a:gd name="T47" fmla="*/ 546 h 903"/>
              <a:gd name="T48" fmla="*/ 26 w 904"/>
              <a:gd name="T49" fmla="*/ 568 h 903"/>
              <a:gd name="T50" fmla="*/ 5 w 904"/>
              <a:gd name="T51" fmla="*/ 605 h 903"/>
              <a:gd name="T52" fmla="*/ 3 w 904"/>
              <a:gd name="T53" fmla="*/ 650 h 903"/>
              <a:gd name="T54" fmla="*/ 21 w 904"/>
              <a:gd name="T55" fmla="*/ 690 h 903"/>
              <a:gd name="T56" fmla="*/ 56 w 904"/>
              <a:gd name="T57" fmla="*/ 716 h 903"/>
              <a:gd name="T58" fmla="*/ 100 w 904"/>
              <a:gd name="T59" fmla="*/ 722 h 903"/>
              <a:gd name="T60" fmla="*/ 142 w 904"/>
              <a:gd name="T61" fmla="*/ 706 h 903"/>
              <a:gd name="T62" fmla="*/ 170 w 904"/>
              <a:gd name="T63" fmla="*/ 675 h 903"/>
              <a:gd name="T64" fmla="*/ 181 w 904"/>
              <a:gd name="T65" fmla="*/ 632 h 903"/>
              <a:gd name="T66" fmla="*/ 171 w 904"/>
              <a:gd name="T67" fmla="*/ 591 h 903"/>
              <a:gd name="T68" fmla="*/ 316 w 904"/>
              <a:gd name="T69" fmla="*/ 430 h 903"/>
              <a:gd name="T70" fmla="*/ 286 w 904"/>
              <a:gd name="T71" fmla="*/ 538 h 903"/>
              <a:gd name="T72" fmla="*/ 271 w 904"/>
              <a:gd name="T73" fmla="*/ 753 h 903"/>
              <a:gd name="T74" fmla="*/ 216 w 904"/>
              <a:gd name="T75" fmla="*/ 757 h 903"/>
              <a:gd name="T76" fmla="*/ 212 w 904"/>
              <a:gd name="T77" fmla="*/ 888 h 903"/>
              <a:gd name="T78" fmla="*/ 218 w 904"/>
              <a:gd name="T79" fmla="*/ 901 h 903"/>
              <a:gd name="T80" fmla="*/ 349 w 904"/>
              <a:gd name="T81" fmla="*/ 903 h 903"/>
              <a:gd name="T82" fmla="*/ 361 w 904"/>
              <a:gd name="T83" fmla="*/ 894 h 903"/>
              <a:gd name="T84" fmla="*/ 361 w 904"/>
              <a:gd name="T85" fmla="*/ 762 h 903"/>
              <a:gd name="T86" fmla="*/ 349 w 904"/>
              <a:gd name="T87" fmla="*/ 753 h 903"/>
              <a:gd name="T88" fmla="*/ 305 w 904"/>
              <a:gd name="T89" fmla="*/ 597 h 903"/>
              <a:gd name="T90" fmla="*/ 343 w 904"/>
              <a:gd name="T91" fmla="*/ 469 h 903"/>
              <a:gd name="T92" fmla="*/ 383 w 904"/>
              <a:gd name="T93" fmla="*/ 426 h 903"/>
              <a:gd name="T94" fmla="*/ 418 w 904"/>
              <a:gd name="T95" fmla="*/ 383 h 903"/>
              <a:gd name="T96" fmla="*/ 471 w 904"/>
              <a:gd name="T97" fmla="*/ 342 h 903"/>
              <a:gd name="T98" fmla="*/ 544 w 904"/>
              <a:gd name="T99" fmla="*/ 315 h 903"/>
              <a:gd name="T100" fmla="*/ 627 w 904"/>
              <a:gd name="T101" fmla="*/ 302 h 903"/>
              <a:gd name="T102" fmla="*/ 754 w 904"/>
              <a:gd name="T103" fmla="*/ 348 h 903"/>
              <a:gd name="T104" fmla="*/ 763 w 904"/>
              <a:gd name="T105" fmla="*/ 360 h 903"/>
              <a:gd name="T106" fmla="*/ 895 w 904"/>
              <a:gd name="T107" fmla="*/ 360 h 903"/>
              <a:gd name="T108" fmla="*/ 904 w 904"/>
              <a:gd name="T109" fmla="*/ 348 h 903"/>
              <a:gd name="T110" fmla="*/ 902 w 904"/>
              <a:gd name="T111" fmla="*/ 217 h 903"/>
              <a:gd name="T112" fmla="*/ 889 w 904"/>
              <a:gd name="T113" fmla="*/ 211 h 9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904" h="903">
                <a:moveTo>
                  <a:pt x="889" y="211"/>
                </a:moveTo>
                <a:lnTo>
                  <a:pt x="768" y="211"/>
                </a:lnTo>
                <a:lnTo>
                  <a:pt x="765" y="211"/>
                </a:lnTo>
                <a:lnTo>
                  <a:pt x="763" y="212"/>
                </a:lnTo>
                <a:lnTo>
                  <a:pt x="761" y="213"/>
                </a:lnTo>
                <a:lnTo>
                  <a:pt x="758" y="215"/>
                </a:lnTo>
                <a:lnTo>
                  <a:pt x="756" y="217"/>
                </a:lnTo>
                <a:lnTo>
                  <a:pt x="755" y="220"/>
                </a:lnTo>
                <a:lnTo>
                  <a:pt x="754" y="222"/>
                </a:lnTo>
                <a:lnTo>
                  <a:pt x="754" y="225"/>
                </a:lnTo>
                <a:lnTo>
                  <a:pt x="754" y="271"/>
                </a:lnTo>
                <a:lnTo>
                  <a:pt x="663" y="271"/>
                </a:lnTo>
                <a:lnTo>
                  <a:pt x="627" y="272"/>
                </a:lnTo>
                <a:lnTo>
                  <a:pt x="593" y="275"/>
                </a:lnTo>
                <a:lnTo>
                  <a:pt x="576" y="277"/>
                </a:lnTo>
                <a:lnTo>
                  <a:pt x="561" y="281"/>
                </a:lnTo>
                <a:lnTo>
                  <a:pt x="545" y="284"/>
                </a:lnTo>
                <a:lnTo>
                  <a:pt x="529" y="287"/>
                </a:lnTo>
                <a:lnTo>
                  <a:pt x="513" y="292"/>
                </a:lnTo>
                <a:lnTo>
                  <a:pt x="498" y="298"/>
                </a:lnTo>
                <a:lnTo>
                  <a:pt x="484" y="302"/>
                </a:lnTo>
                <a:lnTo>
                  <a:pt x="470" y="309"/>
                </a:lnTo>
                <a:lnTo>
                  <a:pt x="457" y="315"/>
                </a:lnTo>
                <a:lnTo>
                  <a:pt x="443" y="323"/>
                </a:lnTo>
                <a:lnTo>
                  <a:pt x="431" y="329"/>
                </a:lnTo>
                <a:lnTo>
                  <a:pt x="418" y="337"/>
                </a:lnTo>
                <a:lnTo>
                  <a:pt x="415" y="328"/>
                </a:lnTo>
                <a:lnTo>
                  <a:pt x="409" y="319"/>
                </a:lnTo>
                <a:lnTo>
                  <a:pt x="565" y="163"/>
                </a:lnTo>
                <a:lnTo>
                  <a:pt x="578" y="170"/>
                </a:lnTo>
                <a:lnTo>
                  <a:pt x="590" y="176"/>
                </a:lnTo>
                <a:lnTo>
                  <a:pt x="597" y="178"/>
                </a:lnTo>
                <a:lnTo>
                  <a:pt x="604" y="179"/>
                </a:lnTo>
                <a:lnTo>
                  <a:pt x="610" y="180"/>
                </a:lnTo>
                <a:lnTo>
                  <a:pt x="618" y="180"/>
                </a:lnTo>
                <a:lnTo>
                  <a:pt x="627" y="180"/>
                </a:lnTo>
                <a:lnTo>
                  <a:pt x="636" y="178"/>
                </a:lnTo>
                <a:lnTo>
                  <a:pt x="644" y="176"/>
                </a:lnTo>
                <a:lnTo>
                  <a:pt x="653" y="173"/>
                </a:lnTo>
                <a:lnTo>
                  <a:pt x="661" y="169"/>
                </a:lnTo>
                <a:lnTo>
                  <a:pt x="668" y="164"/>
                </a:lnTo>
                <a:lnTo>
                  <a:pt x="676" y="160"/>
                </a:lnTo>
                <a:lnTo>
                  <a:pt x="681" y="154"/>
                </a:lnTo>
                <a:lnTo>
                  <a:pt x="687" y="147"/>
                </a:lnTo>
                <a:lnTo>
                  <a:pt x="693" y="141"/>
                </a:lnTo>
                <a:lnTo>
                  <a:pt x="697" y="133"/>
                </a:lnTo>
                <a:lnTo>
                  <a:pt x="701" y="125"/>
                </a:lnTo>
                <a:lnTo>
                  <a:pt x="704" y="117"/>
                </a:lnTo>
                <a:lnTo>
                  <a:pt x="706" y="108"/>
                </a:lnTo>
                <a:lnTo>
                  <a:pt x="707" y="99"/>
                </a:lnTo>
                <a:lnTo>
                  <a:pt x="709" y="90"/>
                </a:lnTo>
                <a:lnTo>
                  <a:pt x="707" y="81"/>
                </a:lnTo>
                <a:lnTo>
                  <a:pt x="706" y="72"/>
                </a:lnTo>
                <a:lnTo>
                  <a:pt x="704" y="63"/>
                </a:lnTo>
                <a:lnTo>
                  <a:pt x="701" y="55"/>
                </a:lnTo>
                <a:lnTo>
                  <a:pt x="697" y="47"/>
                </a:lnTo>
                <a:lnTo>
                  <a:pt x="693" y="39"/>
                </a:lnTo>
                <a:lnTo>
                  <a:pt x="687" y="32"/>
                </a:lnTo>
                <a:lnTo>
                  <a:pt x="681" y="25"/>
                </a:lnTo>
                <a:lnTo>
                  <a:pt x="676" y="20"/>
                </a:lnTo>
                <a:lnTo>
                  <a:pt x="668" y="15"/>
                </a:lnTo>
                <a:lnTo>
                  <a:pt x="661" y="11"/>
                </a:lnTo>
                <a:lnTo>
                  <a:pt x="653" y="6"/>
                </a:lnTo>
                <a:lnTo>
                  <a:pt x="644" y="4"/>
                </a:lnTo>
                <a:lnTo>
                  <a:pt x="636" y="2"/>
                </a:lnTo>
                <a:lnTo>
                  <a:pt x="627" y="0"/>
                </a:lnTo>
                <a:lnTo>
                  <a:pt x="618" y="0"/>
                </a:lnTo>
                <a:lnTo>
                  <a:pt x="609" y="0"/>
                </a:lnTo>
                <a:lnTo>
                  <a:pt x="600" y="2"/>
                </a:lnTo>
                <a:lnTo>
                  <a:pt x="591" y="4"/>
                </a:lnTo>
                <a:lnTo>
                  <a:pt x="583" y="6"/>
                </a:lnTo>
                <a:lnTo>
                  <a:pt x="575" y="11"/>
                </a:lnTo>
                <a:lnTo>
                  <a:pt x="567" y="15"/>
                </a:lnTo>
                <a:lnTo>
                  <a:pt x="561" y="20"/>
                </a:lnTo>
                <a:lnTo>
                  <a:pt x="554" y="25"/>
                </a:lnTo>
                <a:lnTo>
                  <a:pt x="548" y="32"/>
                </a:lnTo>
                <a:lnTo>
                  <a:pt x="543" y="39"/>
                </a:lnTo>
                <a:lnTo>
                  <a:pt x="538" y="47"/>
                </a:lnTo>
                <a:lnTo>
                  <a:pt x="535" y="55"/>
                </a:lnTo>
                <a:lnTo>
                  <a:pt x="531" y="63"/>
                </a:lnTo>
                <a:lnTo>
                  <a:pt x="529" y="72"/>
                </a:lnTo>
                <a:lnTo>
                  <a:pt x="528" y="81"/>
                </a:lnTo>
                <a:lnTo>
                  <a:pt x="528" y="90"/>
                </a:lnTo>
                <a:lnTo>
                  <a:pt x="529" y="105"/>
                </a:lnTo>
                <a:lnTo>
                  <a:pt x="532" y="118"/>
                </a:lnTo>
                <a:lnTo>
                  <a:pt x="537" y="131"/>
                </a:lnTo>
                <a:lnTo>
                  <a:pt x="545" y="142"/>
                </a:lnTo>
                <a:lnTo>
                  <a:pt x="388" y="298"/>
                </a:lnTo>
                <a:lnTo>
                  <a:pt x="379" y="293"/>
                </a:lnTo>
                <a:lnTo>
                  <a:pt x="369" y="289"/>
                </a:lnTo>
                <a:lnTo>
                  <a:pt x="358" y="286"/>
                </a:lnTo>
                <a:lnTo>
                  <a:pt x="347" y="285"/>
                </a:lnTo>
                <a:lnTo>
                  <a:pt x="339" y="286"/>
                </a:lnTo>
                <a:lnTo>
                  <a:pt x="331" y="287"/>
                </a:lnTo>
                <a:lnTo>
                  <a:pt x="325" y="289"/>
                </a:lnTo>
                <a:lnTo>
                  <a:pt x="318" y="292"/>
                </a:lnTo>
                <a:lnTo>
                  <a:pt x="311" y="294"/>
                </a:lnTo>
                <a:lnTo>
                  <a:pt x="304" y="299"/>
                </a:lnTo>
                <a:lnTo>
                  <a:pt x="299" y="303"/>
                </a:lnTo>
                <a:lnTo>
                  <a:pt x="294" y="308"/>
                </a:lnTo>
                <a:lnTo>
                  <a:pt x="288" y="313"/>
                </a:lnTo>
                <a:lnTo>
                  <a:pt x="284" y="319"/>
                </a:lnTo>
                <a:lnTo>
                  <a:pt x="281" y="325"/>
                </a:lnTo>
                <a:lnTo>
                  <a:pt x="277" y="332"/>
                </a:lnTo>
                <a:lnTo>
                  <a:pt x="275" y="338"/>
                </a:lnTo>
                <a:lnTo>
                  <a:pt x="273" y="346"/>
                </a:lnTo>
                <a:lnTo>
                  <a:pt x="271" y="353"/>
                </a:lnTo>
                <a:lnTo>
                  <a:pt x="271" y="361"/>
                </a:lnTo>
                <a:lnTo>
                  <a:pt x="273" y="372"/>
                </a:lnTo>
                <a:lnTo>
                  <a:pt x="275" y="383"/>
                </a:lnTo>
                <a:lnTo>
                  <a:pt x="278" y="393"/>
                </a:lnTo>
                <a:lnTo>
                  <a:pt x="284" y="403"/>
                </a:lnTo>
                <a:lnTo>
                  <a:pt x="134" y="553"/>
                </a:lnTo>
                <a:lnTo>
                  <a:pt x="124" y="547"/>
                </a:lnTo>
                <a:lnTo>
                  <a:pt x="113" y="545"/>
                </a:lnTo>
                <a:lnTo>
                  <a:pt x="102" y="543"/>
                </a:lnTo>
                <a:lnTo>
                  <a:pt x="91" y="542"/>
                </a:lnTo>
                <a:lnTo>
                  <a:pt x="82" y="542"/>
                </a:lnTo>
                <a:lnTo>
                  <a:pt x="73" y="544"/>
                </a:lnTo>
                <a:lnTo>
                  <a:pt x="64" y="546"/>
                </a:lnTo>
                <a:lnTo>
                  <a:pt x="56" y="548"/>
                </a:lnTo>
                <a:lnTo>
                  <a:pt x="48" y="553"/>
                </a:lnTo>
                <a:lnTo>
                  <a:pt x="40" y="557"/>
                </a:lnTo>
                <a:lnTo>
                  <a:pt x="33" y="562"/>
                </a:lnTo>
                <a:lnTo>
                  <a:pt x="26" y="568"/>
                </a:lnTo>
                <a:lnTo>
                  <a:pt x="21" y="574"/>
                </a:lnTo>
                <a:lnTo>
                  <a:pt x="16" y="581"/>
                </a:lnTo>
                <a:lnTo>
                  <a:pt x="12" y="589"/>
                </a:lnTo>
                <a:lnTo>
                  <a:pt x="7" y="597"/>
                </a:lnTo>
                <a:lnTo>
                  <a:pt x="5" y="605"/>
                </a:lnTo>
                <a:lnTo>
                  <a:pt x="3" y="614"/>
                </a:lnTo>
                <a:lnTo>
                  <a:pt x="0" y="623"/>
                </a:lnTo>
                <a:lnTo>
                  <a:pt x="0" y="632"/>
                </a:lnTo>
                <a:lnTo>
                  <a:pt x="0" y="641"/>
                </a:lnTo>
                <a:lnTo>
                  <a:pt x="3" y="650"/>
                </a:lnTo>
                <a:lnTo>
                  <a:pt x="5" y="659"/>
                </a:lnTo>
                <a:lnTo>
                  <a:pt x="7" y="667"/>
                </a:lnTo>
                <a:lnTo>
                  <a:pt x="12" y="675"/>
                </a:lnTo>
                <a:lnTo>
                  <a:pt x="16" y="683"/>
                </a:lnTo>
                <a:lnTo>
                  <a:pt x="21" y="690"/>
                </a:lnTo>
                <a:lnTo>
                  <a:pt x="26" y="696"/>
                </a:lnTo>
                <a:lnTo>
                  <a:pt x="33" y="702"/>
                </a:lnTo>
                <a:lnTo>
                  <a:pt x="40" y="706"/>
                </a:lnTo>
                <a:lnTo>
                  <a:pt x="48" y="711"/>
                </a:lnTo>
                <a:lnTo>
                  <a:pt x="56" y="716"/>
                </a:lnTo>
                <a:lnTo>
                  <a:pt x="64" y="718"/>
                </a:lnTo>
                <a:lnTo>
                  <a:pt x="73" y="720"/>
                </a:lnTo>
                <a:lnTo>
                  <a:pt x="82" y="722"/>
                </a:lnTo>
                <a:lnTo>
                  <a:pt x="91" y="722"/>
                </a:lnTo>
                <a:lnTo>
                  <a:pt x="100" y="722"/>
                </a:lnTo>
                <a:lnTo>
                  <a:pt x="109" y="720"/>
                </a:lnTo>
                <a:lnTo>
                  <a:pt x="118" y="718"/>
                </a:lnTo>
                <a:lnTo>
                  <a:pt x="126" y="716"/>
                </a:lnTo>
                <a:lnTo>
                  <a:pt x="134" y="711"/>
                </a:lnTo>
                <a:lnTo>
                  <a:pt x="142" y="706"/>
                </a:lnTo>
                <a:lnTo>
                  <a:pt x="148" y="702"/>
                </a:lnTo>
                <a:lnTo>
                  <a:pt x="155" y="696"/>
                </a:lnTo>
                <a:lnTo>
                  <a:pt x="161" y="690"/>
                </a:lnTo>
                <a:lnTo>
                  <a:pt x="165" y="683"/>
                </a:lnTo>
                <a:lnTo>
                  <a:pt x="170" y="675"/>
                </a:lnTo>
                <a:lnTo>
                  <a:pt x="174" y="667"/>
                </a:lnTo>
                <a:lnTo>
                  <a:pt x="177" y="659"/>
                </a:lnTo>
                <a:lnTo>
                  <a:pt x="179" y="650"/>
                </a:lnTo>
                <a:lnTo>
                  <a:pt x="181" y="641"/>
                </a:lnTo>
                <a:lnTo>
                  <a:pt x="181" y="632"/>
                </a:lnTo>
                <a:lnTo>
                  <a:pt x="181" y="623"/>
                </a:lnTo>
                <a:lnTo>
                  <a:pt x="180" y="615"/>
                </a:lnTo>
                <a:lnTo>
                  <a:pt x="178" y="607"/>
                </a:lnTo>
                <a:lnTo>
                  <a:pt x="174" y="599"/>
                </a:lnTo>
                <a:lnTo>
                  <a:pt x="171" y="591"/>
                </a:lnTo>
                <a:lnTo>
                  <a:pt x="168" y="585"/>
                </a:lnTo>
                <a:lnTo>
                  <a:pt x="163" y="578"/>
                </a:lnTo>
                <a:lnTo>
                  <a:pt x="157" y="571"/>
                </a:lnTo>
                <a:lnTo>
                  <a:pt x="305" y="424"/>
                </a:lnTo>
                <a:lnTo>
                  <a:pt x="316" y="430"/>
                </a:lnTo>
                <a:lnTo>
                  <a:pt x="328" y="433"/>
                </a:lnTo>
                <a:lnTo>
                  <a:pt x="314" y="457"/>
                </a:lnTo>
                <a:lnTo>
                  <a:pt x="303" y="483"/>
                </a:lnTo>
                <a:lnTo>
                  <a:pt x="294" y="510"/>
                </a:lnTo>
                <a:lnTo>
                  <a:pt x="286" y="538"/>
                </a:lnTo>
                <a:lnTo>
                  <a:pt x="279" y="568"/>
                </a:lnTo>
                <a:lnTo>
                  <a:pt x="275" y="598"/>
                </a:lnTo>
                <a:lnTo>
                  <a:pt x="273" y="630"/>
                </a:lnTo>
                <a:lnTo>
                  <a:pt x="271" y="662"/>
                </a:lnTo>
                <a:lnTo>
                  <a:pt x="271" y="753"/>
                </a:lnTo>
                <a:lnTo>
                  <a:pt x="226" y="753"/>
                </a:lnTo>
                <a:lnTo>
                  <a:pt x="223" y="753"/>
                </a:lnTo>
                <a:lnTo>
                  <a:pt x="221" y="754"/>
                </a:lnTo>
                <a:lnTo>
                  <a:pt x="218" y="755"/>
                </a:lnTo>
                <a:lnTo>
                  <a:pt x="216" y="757"/>
                </a:lnTo>
                <a:lnTo>
                  <a:pt x="214" y="760"/>
                </a:lnTo>
                <a:lnTo>
                  <a:pt x="213" y="762"/>
                </a:lnTo>
                <a:lnTo>
                  <a:pt x="212" y="764"/>
                </a:lnTo>
                <a:lnTo>
                  <a:pt x="212" y="767"/>
                </a:lnTo>
                <a:lnTo>
                  <a:pt x="212" y="888"/>
                </a:lnTo>
                <a:lnTo>
                  <a:pt x="212" y="891"/>
                </a:lnTo>
                <a:lnTo>
                  <a:pt x="213" y="894"/>
                </a:lnTo>
                <a:lnTo>
                  <a:pt x="214" y="896"/>
                </a:lnTo>
                <a:lnTo>
                  <a:pt x="216" y="898"/>
                </a:lnTo>
                <a:lnTo>
                  <a:pt x="218" y="901"/>
                </a:lnTo>
                <a:lnTo>
                  <a:pt x="221" y="902"/>
                </a:lnTo>
                <a:lnTo>
                  <a:pt x="223" y="903"/>
                </a:lnTo>
                <a:lnTo>
                  <a:pt x="226" y="903"/>
                </a:lnTo>
                <a:lnTo>
                  <a:pt x="347" y="903"/>
                </a:lnTo>
                <a:lnTo>
                  <a:pt x="349" y="903"/>
                </a:lnTo>
                <a:lnTo>
                  <a:pt x="353" y="902"/>
                </a:lnTo>
                <a:lnTo>
                  <a:pt x="355" y="901"/>
                </a:lnTo>
                <a:lnTo>
                  <a:pt x="357" y="898"/>
                </a:lnTo>
                <a:lnTo>
                  <a:pt x="360" y="896"/>
                </a:lnTo>
                <a:lnTo>
                  <a:pt x="361" y="894"/>
                </a:lnTo>
                <a:lnTo>
                  <a:pt x="362" y="891"/>
                </a:lnTo>
                <a:lnTo>
                  <a:pt x="362" y="888"/>
                </a:lnTo>
                <a:lnTo>
                  <a:pt x="362" y="767"/>
                </a:lnTo>
                <a:lnTo>
                  <a:pt x="362" y="764"/>
                </a:lnTo>
                <a:lnTo>
                  <a:pt x="361" y="762"/>
                </a:lnTo>
                <a:lnTo>
                  <a:pt x="360" y="760"/>
                </a:lnTo>
                <a:lnTo>
                  <a:pt x="357" y="757"/>
                </a:lnTo>
                <a:lnTo>
                  <a:pt x="355" y="755"/>
                </a:lnTo>
                <a:lnTo>
                  <a:pt x="353" y="754"/>
                </a:lnTo>
                <a:lnTo>
                  <a:pt x="349" y="753"/>
                </a:lnTo>
                <a:lnTo>
                  <a:pt x="347" y="753"/>
                </a:lnTo>
                <a:lnTo>
                  <a:pt x="302" y="753"/>
                </a:lnTo>
                <a:lnTo>
                  <a:pt x="302" y="662"/>
                </a:lnTo>
                <a:lnTo>
                  <a:pt x="303" y="629"/>
                </a:lnTo>
                <a:lnTo>
                  <a:pt x="305" y="597"/>
                </a:lnTo>
                <a:lnTo>
                  <a:pt x="310" y="566"/>
                </a:lnTo>
                <a:lnTo>
                  <a:pt x="317" y="537"/>
                </a:lnTo>
                <a:lnTo>
                  <a:pt x="326" y="509"/>
                </a:lnTo>
                <a:lnTo>
                  <a:pt x="336" y="482"/>
                </a:lnTo>
                <a:lnTo>
                  <a:pt x="343" y="469"/>
                </a:lnTo>
                <a:lnTo>
                  <a:pt x="348" y="457"/>
                </a:lnTo>
                <a:lnTo>
                  <a:pt x="355" y="446"/>
                </a:lnTo>
                <a:lnTo>
                  <a:pt x="363" y="434"/>
                </a:lnTo>
                <a:lnTo>
                  <a:pt x="373" y="431"/>
                </a:lnTo>
                <a:lnTo>
                  <a:pt x="383" y="426"/>
                </a:lnTo>
                <a:lnTo>
                  <a:pt x="393" y="420"/>
                </a:lnTo>
                <a:lnTo>
                  <a:pt x="401" y="413"/>
                </a:lnTo>
                <a:lnTo>
                  <a:pt x="408" y="404"/>
                </a:lnTo>
                <a:lnTo>
                  <a:pt x="414" y="395"/>
                </a:lnTo>
                <a:lnTo>
                  <a:pt x="418" y="383"/>
                </a:lnTo>
                <a:lnTo>
                  <a:pt x="421" y="372"/>
                </a:lnTo>
                <a:lnTo>
                  <a:pt x="433" y="364"/>
                </a:lnTo>
                <a:lnTo>
                  <a:pt x="445" y="356"/>
                </a:lnTo>
                <a:lnTo>
                  <a:pt x="458" y="348"/>
                </a:lnTo>
                <a:lnTo>
                  <a:pt x="471" y="342"/>
                </a:lnTo>
                <a:lnTo>
                  <a:pt x="485" y="335"/>
                </a:lnTo>
                <a:lnTo>
                  <a:pt x="498" y="329"/>
                </a:lnTo>
                <a:lnTo>
                  <a:pt x="513" y="324"/>
                </a:lnTo>
                <a:lnTo>
                  <a:pt x="529" y="319"/>
                </a:lnTo>
                <a:lnTo>
                  <a:pt x="544" y="315"/>
                </a:lnTo>
                <a:lnTo>
                  <a:pt x="559" y="311"/>
                </a:lnTo>
                <a:lnTo>
                  <a:pt x="576" y="308"/>
                </a:lnTo>
                <a:lnTo>
                  <a:pt x="593" y="306"/>
                </a:lnTo>
                <a:lnTo>
                  <a:pt x="610" y="303"/>
                </a:lnTo>
                <a:lnTo>
                  <a:pt x="627" y="302"/>
                </a:lnTo>
                <a:lnTo>
                  <a:pt x="645" y="301"/>
                </a:lnTo>
                <a:lnTo>
                  <a:pt x="663" y="301"/>
                </a:lnTo>
                <a:lnTo>
                  <a:pt x="754" y="301"/>
                </a:lnTo>
                <a:lnTo>
                  <a:pt x="754" y="346"/>
                </a:lnTo>
                <a:lnTo>
                  <a:pt x="754" y="348"/>
                </a:lnTo>
                <a:lnTo>
                  <a:pt x="755" y="352"/>
                </a:lnTo>
                <a:lnTo>
                  <a:pt x="756" y="354"/>
                </a:lnTo>
                <a:lnTo>
                  <a:pt x="758" y="356"/>
                </a:lnTo>
                <a:lnTo>
                  <a:pt x="761" y="359"/>
                </a:lnTo>
                <a:lnTo>
                  <a:pt x="763" y="360"/>
                </a:lnTo>
                <a:lnTo>
                  <a:pt x="765" y="361"/>
                </a:lnTo>
                <a:lnTo>
                  <a:pt x="768" y="361"/>
                </a:lnTo>
                <a:lnTo>
                  <a:pt x="889" y="361"/>
                </a:lnTo>
                <a:lnTo>
                  <a:pt x="892" y="361"/>
                </a:lnTo>
                <a:lnTo>
                  <a:pt x="895" y="360"/>
                </a:lnTo>
                <a:lnTo>
                  <a:pt x="897" y="359"/>
                </a:lnTo>
                <a:lnTo>
                  <a:pt x="899" y="356"/>
                </a:lnTo>
                <a:lnTo>
                  <a:pt x="902" y="354"/>
                </a:lnTo>
                <a:lnTo>
                  <a:pt x="903" y="352"/>
                </a:lnTo>
                <a:lnTo>
                  <a:pt x="904" y="348"/>
                </a:lnTo>
                <a:lnTo>
                  <a:pt x="904" y="346"/>
                </a:lnTo>
                <a:lnTo>
                  <a:pt x="904" y="225"/>
                </a:lnTo>
                <a:lnTo>
                  <a:pt x="904" y="222"/>
                </a:lnTo>
                <a:lnTo>
                  <a:pt x="903" y="220"/>
                </a:lnTo>
                <a:lnTo>
                  <a:pt x="902" y="217"/>
                </a:lnTo>
                <a:lnTo>
                  <a:pt x="899" y="215"/>
                </a:lnTo>
                <a:lnTo>
                  <a:pt x="897" y="213"/>
                </a:lnTo>
                <a:lnTo>
                  <a:pt x="895" y="212"/>
                </a:lnTo>
                <a:lnTo>
                  <a:pt x="892" y="211"/>
                </a:lnTo>
                <a:lnTo>
                  <a:pt x="889" y="21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" name="Freeform 4345">
            <a:extLst>
              <a:ext uri="{FF2B5EF4-FFF2-40B4-BE49-F238E27FC236}">
                <a16:creationId xmlns:a16="http://schemas.microsoft.com/office/drawing/2014/main" id="{2E8198F5-8A8A-49EF-A5CE-B0ACCF3C2147}"/>
              </a:ext>
            </a:extLst>
          </p:cNvPr>
          <p:cNvSpPr>
            <a:spLocks noEditPoints="1"/>
          </p:cNvSpPr>
          <p:nvPr/>
        </p:nvSpPr>
        <p:spPr bwMode="auto">
          <a:xfrm>
            <a:off x="7267212" y="4905396"/>
            <a:ext cx="284163" cy="285750"/>
          </a:xfrm>
          <a:custGeom>
            <a:avLst/>
            <a:gdLst>
              <a:gd name="T0" fmla="*/ 390 w 898"/>
              <a:gd name="T1" fmla="*/ 587 h 898"/>
              <a:gd name="T2" fmla="*/ 334 w 898"/>
              <a:gd name="T3" fmla="*/ 545 h 898"/>
              <a:gd name="T4" fmla="*/ 303 w 898"/>
              <a:gd name="T5" fmla="*/ 480 h 898"/>
              <a:gd name="T6" fmla="*/ 306 w 898"/>
              <a:gd name="T7" fmla="*/ 405 h 898"/>
              <a:gd name="T8" fmla="*/ 343 w 898"/>
              <a:gd name="T9" fmla="*/ 344 h 898"/>
              <a:gd name="T10" fmla="*/ 404 w 898"/>
              <a:gd name="T11" fmla="*/ 306 h 898"/>
              <a:gd name="T12" fmla="*/ 479 w 898"/>
              <a:gd name="T13" fmla="*/ 302 h 898"/>
              <a:gd name="T14" fmla="*/ 543 w 898"/>
              <a:gd name="T15" fmla="*/ 333 h 898"/>
              <a:gd name="T16" fmla="*/ 586 w 898"/>
              <a:gd name="T17" fmla="*/ 391 h 898"/>
              <a:gd name="T18" fmla="*/ 598 w 898"/>
              <a:gd name="T19" fmla="*/ 465 h 898"/>
              <a:gd name="T20" fmla="*/ 572 w 898"/>
              <a:gd name="T21" fmla="*/ 533 h 898"/>
              <a:gd name="T22" fmla="*/ 520 w 898"/>
              <a:gd name="T23" fmla="*/ 580 h 898"/>
              <a:gd name="T24" fmla="*/ 449 w 898"/>
              <a:gd name="T25" fmla="*/ 599 h 898"/>
              <a:gd name="T26" fmla="*/ 750 w 898"/>
              <a:gd name="T27" fmla="*/ 302 h 898"/>
              <a:gd name="T28" fmla="*/ 824 w 898"/>
              <a:gd name="T29" fmla="*/ 199 h 898"/>
              <a:gd name="T30" fmla="*/ 820 w 898"/>
              <a:gd name="T31" fmla="*/ 186 h 898"/>
              <a:gd name="T32" fmla="*/ 702 w 898"/>
              <a:gd name="T33" fmla="*/ 75 h 898"/>
              <a:gd name="T34" fmla="*/ 613 w 898"/>
              <a:gd name="T35" fmla="*/ 158 h 898"/>
              <a:gd name="T36" fmla="*/ 538 w 898"/>
              <a:gd name="T37" fmla="*/ 15 h 898"/>
              <a:gd name="T38" fmla="*/ 532 w 898"/>
              <a:gd name="T39" fmla="*/ 3 h 898"/>
              <a:gd name="T40" fmla="*/ 371 w 898"/>
              <a:gd name="T41" fmla="*/ 0 h 898"/>
              <a:gd name="T42" fmla="*/ 360 w 898"/>
              <a:gd name="T43" fmla="*/ 10 h 898"/>
              <a:gd name="T44" fmla="*/ 323 w 898"/>
              <a:gd name="T45" fmla="*/ 140 h 898"/>
              <a:gd name="T46" fmla="*/ 201 w 898"/>
              <a:gd name="T47" fmla="*/ 76 h 898"/>
              <a:gd name="T48" fmla="*/ 187 w 898"/>
              <a:gd name="T49" fmla="*/ 77 h 898"/>
              <a:gd name="T50" fmla="*/ 74 w 898"/>
              <a:gd name="T51" fmla="*/ 193 h 898"/>
              <a:gd name="T52" fmla="*/ 78 w 898"/>
              <a:gd name="T53" fmla="*/ 207 h 898"/>
              <a:gd name="T54" fmla="*/ 126 w 898"/>
              <a:gd name="T55" fmla="*/ 359 h 898"/>
              <a:gd name="T56" fmla="*/ 4 w 898"/>
              <a:gd name="T57" fmla="*/ 364 h 898"/>
              <a:gd name="T58" fmla="*/ 0 w 898"/>
              <a:gd name="T59" fmla="*/ 494 h 898"/>
              <a:gd name="T60" fmla="*/ 6 w 898"/>
              <a:gd name="T61" fmla="*/ 506 h 898"/>
              <a:gd name="T62" fmla="*/ 130 w 898"/>
              <a:gd name="T63" fmla="*/ 538 h 898"/>
              <a:gd name="T64" fmla="*/ 157 w 898"/>
              <a:gd name="T65" fmla="*/ 613 h 898"/>
              <a:gd name="T66" fmla="*/ 74 w 898"/>
              <a:gd name="T67" fmla="*/ 703 h 898"/>
              <a:gd name="T68" fmla="*/ 189 w 898"/>
              <a:gd name="T69" fmla="*/ 823 h 898"/>
              <a:gd name="T70" fmla="*/ 204 w 898"/>
              <a:gd name="T71" fmla="*/ 822 h 898"/>
              <a:gd name="T72" fmla="*/ 326 w 898"/>
              <a:gd name="T73" fmla="*/ 758 h 898"/>
              <a:gd name="T74" fmla="*/ 359 w 898"/>
              <a:gd name="T75" fmla="*/ 886 h 898"/>
              <a:gd name="T76" fmla="*/ 368 w 898"/>
              <a:gd name="T77" fmla="*/ 897 h 898"/>
              <a:gd name="T78" fmla="*/ 530 w 898"/>
              <a:gd name="T79" fmla="*/ 897 h 898"/>
              <a:gd name="T80" fmla="*/ 538 w 898"/>
              <a:gd name="T81" fmla="*/ 886 h 898"/>
              <a:gd name="T82" fmla="*/ 571 w 898"/>
              <a:gd name="T83" fmla="*/ 758 h 898"/>
              <a:gd name="T84" fmla="*/ 694 w 898"/>
              <a:gd name="T85" fmla="*/ 822 h 898"/>
              <a:gd name="T86" fmla="*/ 708 w 898"/>
              <a:gd name="T87" fmla="*/ 823 h 898"/>
              <a:gd name="T88" fmla="*/ 823 w 898"/>
              <a:gd name="T89" fmla="*/ 709 h 898"/>
              <a:gd name="T90" fmla="*/ 822 w 898"/>
              <a:gd name="T91" fmla="*/ 695 h 898"/>
              <a:gd name="T92" fmla="*/ 755 w 898"/>
              <a:gd name="T93" fmla="*/ 586 h 898"/>
              <a:gd name="T94" fmla="*/ 773 w 898"/>
              <a:gd name="T95" fmla="*/ 509 h 898"/>
              <a:gd name="T96" fmla="*/ 893 w 898"/>
              <a:gd name="T97" fmla="*/ 504 h 898"/>
              <a:gd name="T98" fmla="*/ 898 w 898"/>
              <a:gd name="T99" fmla="*/ 374 h 898"/>
              <a:gd name="T100" fmla="*/ 891 w 898"/>
              <a:gd name="T101" fmla="*/ 362 h 8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898" h="898">
                <a:moveTo>
                  <a:pt x="449" y="599"/>
                </a:moveTo>
                <a:lnTo>
                  <a:pt x="433" y="597"/>
                </a:lnTo>
                <a:lnTo>
                  <a:pt x="418" y="595"/>
                </a:lnTo>
                <a:lnTo>
                  <a:pt x="404" y="592"/>
                </a:lnTo>
                <a:lnTo>
                  <a:pt x="390" y="587"/>
                </a:lnTo>
                <a:lnTo>
                  <a:pt x="378" y="580"/>
                </a:lnTo>
                <a:lnTo>
                  <a:pt x="365" y="573"/>
                </a:lnTo>
                <a:lnTo>
                  <a:pt x="354" y="564"/>
                </a:lnTo>
                <a:lnTo>
                  <a:pt x="343" y="555"/>
                </a:lnTo>
                <a:lnTo>
                  <a:pt x="334" y="545"/>
                </a:lnTo>
                <a:lnTo>
                  <a:pt x="325" y="533"/>
                </a:lnTo>
                <a:lnTo>
                  <a:pt x="318" y="520"/>
                </a:lnTo>
                <a:lnTo>
                  <a:pt x="311" y="508"/>
                </a:lnTo>
                <a:lnTo>
                  <a:pt x="306" y="494"/>
                </a:lnTo>
                <a:lnTo>
                  <a:pt x="303" y="480"/>
                </a:lnTo>
                <a:lnTo>
                  <a:pt x="299" y="465"/>
                </a:lnTo>
                <a:lnTo>
                  <a:pt x="299" y="449"/>
                </a:lnTo>
                <a:lnTo>
                  <a:pt x="299" y="434"/>
                </a:lnTo>
                <a:lnTo>
                  <a:pt x="303" y="419"/>
                </a:lnTo>
                <a:lnTo>
                  <a:pt x="306" y="405"/>
                </a:lnTo>
                <a:lnTo>
                  <a:pt x="311" y="391"/>
                </a:lnTo>
                <a:lnTo>
                  <a:pt x="318" y="378"/>
                </a:lnTo>
                <a:lnTo>
                  <a:pt x="325" y="365"/>
                </a:lnTo>
                <a:lnTo>
                  <a:pt x="334" y="354"/>
                </a:lnTo>
                <a:lnTo>
                  <a:pt x="343" y="344"/>
                </a:lnTo>
                <a:lnTo>
                  <a:pt x="354" y="333"/>
                </a:lnTo>
                <a:lnTo>
                  <a:pt x="365" y="325"/>
                </a:lnTo>
                <a:lnTo>
                  <a:pt x="378" y="317"/>
                </a:lnTo>
                <a:lnTo>
                  <a:pt x="390" y="311"/>
                </a:lnTo>
                <a:lnTo>
                  <a:pt x="404" y="306"/>
                </a:lnTo>
                <a:lnTo>
                  <a:pt x="418" y="302"/>
                </a:lnTo>
                <a:lnTo>
                  <a:pt x="433" y="300"/>
                </a:lnTo>
                <a:lnTo>
                  <a:pt x="449" y="299"/>
                </a:lnTo>
                <a:lnTo>
                  <a:pt x="464" y="300"/>
                </a:lnTo>
                <a:lnTo>
                  <a:pt x="479" y="302"/>
                </a:lnTo>
                <a:lnTo>
                  <a:pt x="493" y="306"/>
                </a:lnTo>
                <a:lnTo>
                  <a:pt x="507" y="311"/>
                </a:lnTo>
                <a:lnTo>
                  <a:pt x="520" y="317"/>
                </a:lnTo>
                <a:lnTo>
                  <a:pt x="533" y="325"/>
                </a:lnTo>
                <a:lnTo>
                  <a:pt x="543" y="333"/>
                </a:lnTo>
                <a:lnTo>
                  <a:pt x="554" y="344"/>
                </a:lnTo>
                <a:lnTo>
                  <a:pt x="564" y="354"/>
                </a:lnTo>
                <a:lnTo>
                  <a:pt x="572" y="365"/>
                </a:lnTo>
                <a:lnTo>
                  <a:pt x="580" y="378"/>
                </a:lnTo>
                <a:lnTo>
                  <a:pt x="586" y="391"/>
                </a:lnTo>
                <a:lnTo>
                  <a:pt x="592" y="405"/>
                </a:lnTo>
                <a:lnTo>
                  <a:pt x="595" y="419"/>
                </a:lnTo>
                <a:lnTo>
                  <a:pt x="598" y="434"/>
                </a:lnTo>
                <a:lnTo>
                  <a:pt x="598" y="449"/>
                </a:lnTo>
                <a:lnTo>
                  <a:pt x="598" y="465"/>
                </a:lnTo>
                <a:lnTo>
                  <a:pt x="595" y="480"/>
                </a:lnTo>
                <a:lnTo>
                  <a:pt x="592" y="494"/>
                </a:lnTo>
                <a:lnTo>
                  <a:pt x="586" y="508"/>
                </a:lnTo>
                <a:lnTo>
                  <a:pt x="580" y="520"/>
                </a:lnTo>
                <a:lnTo>
                  <a:pt x="572" y="533"/>
                </a:lnTo>
                <a:lnTo>
                  <a:pt x="564" y="545"/>
                </a:lnTo>
                <a:lnTo>
                  <a:pt x="554" y="555"/>
                </a:lnTo>
                <a:lnTo>
                  <a:pt x="543" y="564"/>
                </a:lnTo>
                <a:lnTo>
                  <a:pt x="533" y="573"/>
                </a:lnTo>
                <a:lnTo>
                  <a:pt x="520" y="580"/>
                </a:lnTo>
                <a:lnTo>
                  <a:pt x="507" y="587"/>
                </a:lnTo>
                <a:lnTo>
                  <a:pt x="493" y="592"/>
                </a:lnTo>
                <a:lnTo>
                  <a:pt x="479" y="595"/>
                </a:lnTo>
                <a:lnTo>
                  <a:pt x="464" y="597"/>
                </a:lnTo>
                <a:lnTo>
                  <a:pt x="449" y="599"/>
                </a:lnTo>
                <a:close/>
                <a:moveTo>
                  <a:pt x="883" y="359"/>
                </a:moveTo>
                <a:lnTo>
                  <a:pt x="771" y="359"/>
                </a:lnTo>
                <a:lnTo>
                  <a:pt x="765" y="341"/>
                </a:lnTo>
                <a:lnTo>
                  <a:pt x="759" y="321"/>
                </a:lnTo>
                <a:lnTo>
                  <a:pt x="750" y="302"/>
                </a:lnTo>
                <a:lnTo>
                  <a:pt x="740" y="284"/>
                </a:lnTo>
                <a:lnTo>
                  <a:pt x="820" y="207"/>
                </a:lnTo>
                <a:lnTo>
                  <a:pt x="822" y="205"/>
                </a:lnTo>
                <a:lnTo>
                  <a:pt x="823" y="202"/>
                </a:lnTo>
                <a:lnTo>
                  <a:pt x="824" y="199"/>
                </a:lnTo>
                <a:lnTo>
                  <a:pt x="824" y="196"/>
                </a:lnTo>
                <a:lnTo>
                  <a:pt x="824" y="193"/>
                </a:lnTo>
                <a:lnTo>
                  <a:pt x="823" y="191"/>
                </a:lnTo>
                <a:lnTo>
                  <a:pt x="822" y="188"/>
                </a:lnTo>
                <a:lnTo>
                  <a:pt x="820" y="186"/>
                </a:lnTo>
                <a:lnTo>
                  <a:pt x="713" y="80"/>
                </a:lnTo>
                <a:lnTo>
                  <a:pt x="710" y="77"/>
                </a:lnTo>
                <a:lnTo>
                  <a:pt x="707" y="76"/>
                </a:lnTo>
                <a:lnTo>
                  <a:pt x="705" y="75"/>
                </a:lnTo>
                <a:lnTo>
                  <a:pt x="702" y="75"/>
                </a:lnTo>
                <a:lnTo>
                  <a:pt x="700" y="75"/>
                </a:lnTo>
                <a:lnTo>
                  <a:pt x="696" y="76"/>
                </a:lnTo>
                <a:lnTo>
                  <a:pt x="694" y="77"/>
                </a:lnTo>
                <a:lnTo>
                  <a:pt x="691" y="80"/>
                </a:lnTo>
                <a:lnTo>
                  <a:pt x="613" y="158"/>
                </a:lnTo>
                <a:lnTo>
                  <a:pt x="594" y="148"/>
                </a:lnTo>
                <a:lnTo>
                  <a:pt x="574" y="140"/>
                </a:lnTo>
                <a:lnTo>
                  <a:pt x="555" y="132"/>
                </a:lnTo>
                <a:lnTo>
                  <a:pt x="538" y="128"/>
                </a:lnTo>
                <a:lnTo>
                  <a:pt x="538" y="15"/>
                </a:lnTo>
                <a:lnTo>
                  <a:pt x="538" y="12"/>
                </a:lnTo>
                <a:lnTo>
                  <a:pt x="537" y="10"/>
                </a:lnTo>
                <a:lnTo>
                  <a:pt x="536" y="7"/>
                </a:lnTo>
                <a:lnTo>
                  <a:pt x="534" y="5"/>
                </a:lnTo>
                <a:lnTo>
                  <a:pt x="532" y="3"/>
                </a:lnTo>
                <a:lnTo>
                  <a:pt x="530" y="2"/>
                </a:lnTo>
                <a:lnTo>
                  <a:pt x="526" y="0"/>
                </a:lnTo>
                <a:lnTo>
                  <a:pt x="523" y="0"/>
                </a:lnTo>
                <a:lnTo>
                  <a:pt x="374" y="0"/>
                </a:lnTo>
                <a:lnTo>
                  <a:pt x="371" y="0"/>
                </a:lnTo>
                <a:lnTo>
                  <a:pt x="368" y="2"/>
                </a:lnTo>
                <a:lnTo>
                  <a:pt x="366" y="3"/>
                </a:lnTo>
                <a:lnTo>
                  <a:pt x="364" y="5"/>
                </a:lnTo>
                <a:lnTo>
                  <a:pt x="362" y="7"/>
                </a:lnTo>
                <a:lnTo>
                  <a:pt x="360" y="10"/>
                </a:lnTo>
                <a:lnTo>
                  <a:pt x="359" y="12"/>
                </a:lnTo>
                <a:lnTo>
                  <a:pt x="359" y="15"/>
                </a:lnTo>
                <a:lnTo>
                  <a:pt x="359" y="128"/>
                </a:lnTo>
                <a:lnTo>
                  <a:pt x="342" y="133"/>
                </a:lnTo>
                <a:lnTo>
                  <a:pt x="323" y="140"/>
                </a:lnTo>
                <a:lnTo>
                  <a:pt x="304" y="148"/>
                </a:lnTo>
                <a:lnTo>
                  <a:pt x="285" y="158"/>
                </a:lnTo>
                <a:lnTo>
                  <a:pt x="206" y="80"/>
                </a:lnTo>
                <a:lnTo>
                  <a:pt x="203" y="77"/>
                </a:lnTo>
                <a:lnTo>
                  <a:pt x="201" y="76"/>
                </a:lnTo>
                <a:lnTo>
                  <a:pt x="198" y="75"/>
                </a:lnTo>
                <a:lnTo>
                  <a:pt x="196" y="75"/>
                </a:lnTo>
                <a:lnTo>
                  <a:pt x="192" y="75"/>
                </a:lnTo>
                <a:lnTo>
                  <a:pt x="190" y="76"/>
                </a:lnTo>
                <a:lnTo>
                  <a:pt x="187" y="77"/>
                </a:lnTo>
                <a:lnTo>
                  <a:pt x="185" y="80"/>
                </a:lnTo>
                <a:lnTo>
                  <a:pt x="78" y="186"/>
                </a:lnTo>
                <a:lnTo>
                  <a:pt x="76" y="188"/>
                </a:lnTo>
                <a:lnTo>
                  <a:pt x="75" y="191"/>
                </a:lnTo>
                <a:lnTo>
                  <a:pt x="74" y="193"/>
                </a:lnTo>
                <a:lnTo>
                  <a:pt x="74" y="196"/>
                </a:lnTo>
                <a:lnTo>
                  <a:pt x="74" y="199"/>
                </a:lnTo>
                <a:lnTo>
                  <a:pt x="75" y="202"/>
                </a:lnTo>
                <a:lnTo>
                  <a:pt x="76" y="205"/>
                </a:lnTo>
                <a:lnTo>
                  <a:pt x="78" y="207"/>
                </a:lnTo>
                <a:lnTo>
                  <a:pt x="157" y="286"/>
                </a:lnTo>
                <a:lnTo>
                  <a:pt x="148" y="304"/>
                </a:lnTo>
                <a:lnTo>
                  <a:pt x="139" y="324"/>
                </a:lnTo>
                <a:lnTo>
                  <a:pt x="131" y="343"/>
                </a:lnTo>
                <a:lnTo>
                  <a:pt x="126" y="359"/>
                </a:lnTo>
                <a:lnTo>
                  <a:pt x="15" y="359"/>
                </a:lnTo>
                <a:lnTo>
                  <a:pt x="12" y="360"/>
                </a:lnTo>
                <a:lnTo>
                  <a:pt x="10" y="361"/>
                </a:lnTo>
                <a:lnTo>
                  <a:pt x="6" y="362"/>
                </a:lnTo>
                <a:lnTo>
                  <a:pt x="4" y="364"/>
                </a:lnTo>
                <a:lnTo>
                  <a:pt x="3" y="366"/>
                </a:lnTo>
                <a:lnTo>
                  <a:pt x="1" y="368"/>
                </a:lnTo>
                <a:lnTo>
                  <a:pt x="1" y="372"/>
                </a:lnTo>
                <a:lnTo>
                  <a:pt x="0" y="374"/>
                </a:lnTo>
                <a:lnTo>
                  <a:pt x="0" y="494"/>
                </a:lnTo>
                <a:lnTo>
                  <a:pt x="1" y="497"/>
                </a:lnTo>
                <a:lnTo>
                  <a:pt x="1" y="500"/>
                </a:lnTo>
                <a:lnTo>
                  <a:pt x="3" y="502"/>
                </a:lnTo>
                <a:lnTo>
                  <a:pt x="4" y="504"/>
                </a:lnTo>
                <a:lnTo>
                  <a:pt x="6" y="506"/>
                </a:lnTo>
                <a:lnTo>
                  <a:pt x="10" y="508"/>
                </a:lnTo>
                <a:lnTo>
                  <a:pt x="12" y="509"/>
                </a:lnTo>
                <a:lnTo>
                  <a:pt x="15" y="509"/>
                </a:lnTo>
                <a:lnTo>
                  <a:pt x="125" y="509"/>
                </a:lnTo>
                <a:lnTo>
                  <a:pt x="130" y="538"/>
                </a:lnTo>
                <a:lnTo>
                  <a:pt x="138" y="565"/>
                </a:lnTo>
                <a:lnTo>
                  <a:pt x="142" y="579"/>
                </a:lnTo>
                <a:lnTo>
                  <a:pt x="146" y="591"/>
                </a:lnTo>
                <a:lnTo>
                  <a:pt x="152" y="603"/>
                </a:lnTo>
                <a:lnTo>
                  <a:pt x="157" y="613"/>
                </a:lnTo>
                <a:lnTo>
                  <a:pt x="78" y="693"/>
                </a:lnTo>
                <a:lnTo>
                  <a:pt x="76" y="695"/>
                </a:lnTo>
                <a:lnTo>
                  <a:pt x="75" y="697"/>
                </a:lnTo>
                <a:lnTo>
                  <a:pt x="74" y="700"/>
                </a:lnTo>
                <a:lnTo>
                  <a:pt x="74" y="703"/>
                </a:lnTo>
                <a:lnTo>
                  <a:pt x="75" y="709"/>
                </a:lnTo>
                <a:lnTo>
                  <a:pt x="78" y="714"/>
                </a:lnTo>
                <a:lnTo>
                  <a:pt x="185" y="820"/>
                </a:lnTo>
                <a:lnTo>
                  <a:pt x="187" y="822"/>
                </a:lnTo>
                <a:lnTo>
                  <a:pt x="189" y="823"/>
                </a:lnTo>
                <a:lnTo>
                  <a:pt x="192" y="824"/>
                </a:lnTo>
                <a:lnTo>
                  <a:pt x="196" y="824"/>
                </a:lnTo>
                <a:lnTo>
                  <a:pt x="198" y="824"/>
                </a:lnTo>
                <a:lnTo>
                  <a:pt x="201" y="823"/>
                </a:lnTo>
                <a:lnTo>
                  <a:pt x="204" y="822"/>
                </a:lnTo>
                <a:lnTo>
                  <a:pt x="206" y="820"/>
                </a:lnTo>
                <a:lnTo>
                  <a:pt x="285" y="742"/>
                </a:lnTo>
                <a:lnTo>
                  <a:pt x="298" y="747"/>
                </a:lnTo>
                <a:lnTo>
                  <a:pt x="312" y="753"/>
                </a:lnTo>
                <a:lnTo>
                  <a:pt x="326" y="758"/>
                </a:lnTo>
                <a:lnTo>
                  <a:pt x="340" y="763"/>
                </a:lnTo>
                <a:lnTo>
                  <a:pt x="350" y="768"/>
                </a:lnTo>
                <a:lnTo>
                  <a:pt x="359" y="771"/>
                </a:lnTo>
                <a:lnTo>
                  <a:pt x="359" y="883"/>
                </a:lnTo>
                <a:lnTo>
                  <a:pt x="359" y="886"/>
                </a:lnTo>
                <a:lnTo>
                  <a:pt x="360" y="888"/>
                </a:lnTo>
                <a:lnTo>
                  <a:pt x="362" y="892"/>
                </a:lnTo>
                <a:lnTo>
                  <a:pt x="364" y="894"/>
                </a:lnTo>
                <a:lnTo>
                  <a:pt x="366" y="895"/>
                </a:lnTo>
                <a:lnTo>
                  <a:pt x="368" y="897"/>
                </a:lnTo>
                <a:lnTo>
                  <a:pt x="371" y="897"/>
                </a:lnTo>
                <a:lnTo>
                  <a:pt x="374" y="898"/>
                </a:lnTo>
                <a:lnTo>
                  <a:pt x="523" y="898"/>
                </a:lnTo>
                <a:lnTo>
                  <a:pt x="526" y="897"/>
                </a:lnTo>
                <a:lnTo>
                  <a:pt x="530" y="897"/>
                </a:lnTo>
                <a:lnTo>
                  <a:pt x="532" y="895"/>
                </a:lnTo>
                <a:lnTo>
                  <a:pt x="534" y="894"/>
                </a:lnTo>
                <a:lnTo>
                  <a:pt x="536" y="892"/>
                </a:lnTo>
                <a:lnTo>
                  <a:pt x="537" y="888"/>
                </a:lnTo>
                <a:lnTo>
                  <a:pt x="538" y="886"/>
                </a:lnTo>
                <a:lnTo>
                  <a:pt x="538" y="883"/>
                </a:lnTo>
                <a:lnTo>
                  <a:pt x="538" y="771"/>
                </a:lnTo>
                <a:lnTo>
                  <a:pt x="548" y="768"/>
                </a:lnTo>
                <a:lnTo>
                  <a:pt x="557" y="763"/>
                </a:lnTo>
                <a:lnTo>
                  <a:pt x="571" y="758"/>
                </a:lnTo>
                <a:lnTo>
                  <a:pt x="585" y="753"/>
                </a:lnTo>
                <a:lnTo>
                  <a:pt x="599" y="747"/>
                </a:lnTo>
                <a:lnTo>
                  <a:pt x="613" y="742"/>
                </a:lnTo>
                <a:lnTo>
                  <a:pt x="691" y="820"/>
                </a:lnTo>
                <a:lnTo>
                  <a:pt x="694" y="822"/>
                </a:lnTo>
                <a:lnTo>
                  <a:pt x="696" y="823"/>
                </a:lnTo>
                <a:lnTo>
                  <a:pt x="700" y="824"/>
                </a:lnTo>
                <a:lnTo>
                  <a:pt x="702" y="824"/>
                </a:lnTo>
                <a:lnTo>
                  <a:pt x="705" y="824"/>
                </a:lnTo>
                <a:lnTo>
                  <a:pt x="708" y="823"/>
                </a:lnTo>
                <a:lnTo>
                  <a:pt x="710" y="822"/>
                </a:lnTo>
                <a:lnTo>
                  <a:pt x="713" y="820"/>
                </a:lnTo>
                <a:lnTo>
                  <a:pt x="820" y="714"/>
                </a:lnTo>
                <a:lnTo>
                  <a:pt x="822" y="711"/>
                </a:lnTo>
                <a:lnTo>
                  <a:pt x="823" y="709"/>
                </a:lnTo>
                <a:lnTo>
                  <a:pt x="824" y="705"/>
                </a:lnTo>
                <a:lnTo>
                  <a:pt x="824" y="703"/>
                </a:lnTo>
                <a:lnTo>
                  <a:pt x="824" y="700"/>
                </a:lnTo>
                <a:lnTo>
                  <a:pt x="823" y="698"/>
                </a:lnTo>
                <a:lnTo>
                  <a:pt x="822" y="695"/>
                </a:lnTo>
                <a:lnTo>
                  <a:pt x="820" y="693"/>
                </a:lnTo>
                <a:lnTo>
                  <a:pt x="741" y="613"/>
                </a:lnTo>
                <a:lnTo>
                  <a:pt x="746" y="605"/>
                </a:lnTo>
                <a:lnTo>
                  <a:pt x="751" y="595"/>
                </a:lnTo>
                <a:lnTo>
                  <a:pt x="755" y="586"/>
                </a:lnTo>
                <a:lnTo>
                  <a:pt x="760" y="575"/>
                </a:lnTo>
                <a:lnTo>
                  <a:pt x="764" y="562"/>
                </a:lnTo>
                <a:lnTo>
                  <a:pt x="767" y="546"/>
                </a:lnTo>
                <a:lnTo>
                  <a:pt x="770" y="529"/>
                </a:lnTo>
                <a:lnTo>
                  <a:pt x="773" y="509"/>
                </a:lnTo>
                <a:lnTo>
                  <a:pt x="883" y="509"/>
                </a:lnTo>
                <a:lnTo>
                  <a:pt x="886" y="509"/>
                </a:lnTo>
                <a:lnTo>
                  <a:pt x="888" y="508"/>
                </a:lnTo>
                <a:lnTo>
                  <a:pt x="891" y="506"/>
                </a:lnTo>
                <a:lnTo>
                  <a:pt x="893" y="504"/>
                </a:lnTo>
                <a:lnTo>
                  <a:pt x="894" y="502"/>
                </a:lnTo>
                <a:lnTo>
                  <a:pt x="897" y="500"/>
                </a:lnTo>
                <a:lnTo>
                  <a:pt x="898" y="497"/>
                </a:lnTo>
                <a:lnTo>
                  <a:pt x="898" y="494"/>
                </a:lnTo>
                <a:lnTo>
                  <a:pt x="898" y="374"/>
                </a:lnTo>
                <a:lnTo>
                  <a:pt x="898" y="372"/>
                </a:lnTo>
                <a:lnTo>
                  <a:pt x="897" y="368"/>
                </a:lnTo>
                <a:lnTo>
                  <a:pt x="894" y="366"/>
                </a:lnTo>
                <a:lnTo>
                  <a:pt x="893" y="364"/>
                </a:lnTo>
                <a:lnTo>
                  <a:pt x="891" y="362"/>
                </a:lnTo>
                <a:lnTo>
                  <a:pt x="888" y="361"/>
                </a:lnTo>
                <a:lnTo>
                  <a:pt x="886" y="360"/>
                </a:lnTo>
                <a:lnTo>
                  <a:pt x="883" y="35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DCF97E61-D30F-4314-A03D-C8B12C800224}"/>
              </a:ext>
            </a:extLst>
          </p:cNvPr>
          <p:cNvGrpSpPr/>
          <p:nvPr/>
        </p:nvGrpSpPr>
        <p:grpSpPr>
          <a:xfrm>
            <a:off x="8077247" y="1828746"/>
            <a:ext cx="3657845" cy="1181166"/>
            <a:chOff x="8055185" y="1828561"/>
            <a:chExt cx="3657845" cy="1181166"/>
          </a:xfrm>
        </p:grpSpPr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3627F952-B140-4181-9FB5-93D96D79DFA8}"/>
                </a:ext>
              </a:extLst>
            </p:cNvPr>
            <p:cNvSpPr/>
            <p:nvPr/>
          </p:nvSpPr>
          <p:spPr>
            <a:xfrm>
              <a:off x="8055185" y="1828561"/>
              <a:ext cx="3657844" cy="246221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r>
                <a:rPr 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" panose="020B0502040204020203" pitchFamily="34" charset="0"/>
                </a:rPr>
                <a:t>DESIGN</a:t>
              </a:r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28D973A3-9141-437F-BEF6-9B88F692B58B}"/>
                </a:ext>
              </a:extLst>
            </p:cNvPr>
            <p:cNvSpPr txBox="1"/>
            <p:nvPr/>
          </p:nvSpPr>
          <p:spPr>
            <a:xfrm>
              <a:off x="8055186" y="2147953"/>
              <a:ext cx="3657844" cy="861774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 anchor="t">
              <a:spAutoFit/>
            </a:bodyPr>
            <a:lstStyle/>
            <a:p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" panose="020F0502020204030204" pitchFamily="34" charset="0"/>
                </a:rPr>
                <a:t>Lorem ipsum dolor sit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" panose="020F0502020204030204" pitchFamily="34" charset="0"/>
                </a:rPr>
                <a:t>amet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" panose="020F0502020204030204" pitchFamily="34" charset="0"/>
                </a:rPr>
                <a:t>,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" panose="020F0502020204030204" pitchFamily="34" charset="0"/>
                </a:rPr>
                <a:t>consectetur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" panose="020F0502020204030204" pitchFamily="34" charset="0"/>
                </a:rPr>
                <a:t>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" panose="020F0502020204030204" pitchFamily="34" charset="0"/>
                </a:rPr>
                <a:t>adipiscing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" panose="020F0502020204030204" pitchFamily="34" charset="0"/>
                </a:rPr>
                <a:t>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" panose="020F0502020204030204" pitchFamily="34" charset="0"/>
                </a:rPr>
                <a:t>elit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" panose="020F0502020204030204" pitchFamily="34" charset="0"/>
                </a:rPr>
                <a:t>. Duis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" panose="020F0502020204030204" pitchFamily="34" charset="0"/>
                </a:rPr>
                <a:t>suscipit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" panose="020F0502020204030204" pitchFamily="34" charset="0"/>
                </a:rPr>
                <a:t> in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" panose="020F0502020204030204" pitchFamily="34" charset="0"/>
                </a:rPr>
                <a:t>tellus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" panose="020F0502020204030204" pitchFamily="34" charset="0"/>
                </a:rPr>
                <a:t> ac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" panose="020F0502020204030204" pitchFamily="34" charset="0"/>
                </a:rPr>
                <a:t>bibendum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" panose="020F0502020204030204" pitchFamily="34" charset="0"/>
                </a:rPr>
                <a:t>. Sed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" panose="020F0502020204030204" pitchFamily="34" charset="0"/>
                </a:rPr>
                <a:t>congue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" panose="020F0502020204030204" pitchFamily="34" charset="0"/>
                </a:rPr>
                <a:t>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" panose="020F0502020204030204" pitchFamily="34" charset="0"/>
                </a:rPr>
                <a:t>lacus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" panose="020F0502020204030204" pitchFamily="34" charset="0"/>
                </a:rPr>
                <a:t> vitae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" panose="020F0502020204030204" pitchFamily="34" charset="0"/>
                </a:rPr>
                <a:t>tellus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" panose="020F0502020204030204" pitchFamily="34" charset="0"/>
                </a:rPr>
                <a:t>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" panose="020F0502020204030204" pitchFamily="34" charset="0"/>
                </a:rPr>
                <a:t>finibus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" panose="020F0502020204030204" pitchFamily="34" charset="0"/>
                </a:rPr>
                <a:t>.</a:t>
              </a:r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B734C8D5-C9F2-4CA5-9CEC-29AF7968B6C6}"/>
              </a:ext>
            </a:extLst>
          </p:cNvPr>
          <p:cNvGrpSpPr/>
          <p:nvPr/>
        </p:nvGrpSpPr>
        <p:grpSpPr>
          <a:xfrm>
            <a:off x="8077247" y="4455479"/>
            <a:ext cx="3657845" cy="1181166"/>
            <a:chOff x="8055185" y="1828561"/>
            <a:chExt cx="3657845" cy="1181166"/>
          </a:xfrm>
        </p:grpSpPr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E7DABF75-F9B1-414A-A585-B1CAEF175697}"/>
                </a:ext>
              </a:extLst>
            </p:cNvPr>
            <p:cNvSpPr/>
            <p:nvPr/>
          </p:nvSpPr>
          <p:spPr>
            <a:xfrm>
              <a:off x="8055185" y="1828561"/>
              <a:ext cx="3657844" cy="246221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r>
                <a:rPr 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" panose="020B0502040204020203" pitchFamily="34" charset="0"/>
                </a:rPr>
                <a:t>DEVELOPMENT</a:t>
              </a:r>
            </a:p>
          </p:txBody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31904C7C-0261-450A-98E8-107168A91F1E}"/>
                </a:ext>
              </a:extLst>
            </p:cNvPr>
            <p:cNvSpPr txBox="1"/>
            <p:nvPr/>
          </p:nvSpPr>
          <p:spPr>
            <a:xfrm>
              <a:off x="8055186" y="2147953"/>
              <a:ext cx="3657844" cy="861774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 anchor="t">
              <a:spAutoFit/>
            </a:bodyPr>
            <a:lstStyle/>
            <a:p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" panose="020F0502020204030204" pitchFamily="34" charset="0"/>
                </a:rPr>
                <a:t>Lorem ipsum dolor sit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" panose="020F0502020204030204" pitchFamily="34" charset="0"/>
                </a:rPr>
                <a:t>amet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" panose="020F0502020204030204" pitchFamily="34" charset="0"/>
                </a:rPr>
                <a:t>,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" panose="020F0502020204030204" pitchFamily="34" charset="0"/>
                </a:rPr>
                <a:t>consectetur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" panose="020F0502020204030204" pitchFamily="34" charset="0"/>
                </a:rPr>
                <a:t>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" panose="020F0502020204030204" pitchFamily="34" charset="0"/>
                </a:rPr>
                <a:t>adipiscing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" panose="020F0502020204030204" pitchFamily="34" charset="0"/>
                </a:rPr>
                <a:t>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" panose="020F0502020204030204" pitchFamily="34" charset="0"/>
                </a:rPr>
                <a:t>elit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" panose="020F0502020204030204" pitchFamily="34" charset="0"/>
                </a:rPr>
                <a:t>. Duis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" panose="020F0502020204030204" pitchFamily="34" charset="0"/>
                </a:rPr>
                <a:t>suscipit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" panose="020F0502020204030204" pitchFamily="34" charset="0"/>
                </a:rPr>
                <a:t> in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" panose="020F0502020204030204" pitchFamily="34" charset="0"/>
                </a:rPr>
                <a:t>tellus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" panose="020F0502020204030204" pitchFamily="34" charset="0"/>
                </a:rPr>
                <a:t> ac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" panose="020F0502020204030204" pitchFamily="34" charset="0"/>
                </a:rPr>
                <a:t>bibendum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" panose="020F0502020204030204" pitchFamily="34" charset="0"/>
                </a:rPr>
                <a:t>. Sed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" panose="020F0502020204030204" pitchFamily="34" charset="0"/>
                </a:rPr>
                <a:t>congue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" panose="020F0502020204030204" pitchFamily="34" charset="0"/>
                </a:rPr>
                <a:t>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" panose="020F0502020204030204" pitchFamily="34" charset="0"/>
                </a:rPr>
                <a:t>lacus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" panose="020F0502020204030204" pitchFamily="34" charset="0"/>
                </a:rPr>
                <a:t> vitae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" panose="020F0502020204030204" pitchFamily="34" charset="0"/>
                </a:rPr>
                <a:t>tellus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" panose="020F0502020204030204" pitchFamily="34" charset="0"/>
                </a:rPr>
                <a:t>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" panose="020F0502020204030204" pitchFamily="34" charset="0"/>
                </a:rPr>
                <a:t>finibus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" panose="020F0502020204030204" pitchFamily="34" charset="0"/>
                </a:rPr>
                <a:t>.</a:t>
              </a:r>
            </a:p>
          </p:txBody>
        </p:sp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06489CD6-958A-4C60-8A87-24F0797F2BFE}"/>
              </a:ext>
            </a:extLst>
          </p:cNvPr>
          <p:cNvGrpSpPr/>
          <p:nvPr/>
        </p:nvGrpSpPr>
        <p:grpSpPr>
          <a:xfrm>
            <a:off x="456909" y="1828746"/>
            <a:ext cx="3657845" cy="1181166"/>
            <a:chOff x="8055185" y="1828561"/>
            <a:chExt cx="3657845" cy="1181166"/>
          </a:xfrm>
        </p:grpSpPr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8066DF6E-6826-48DB-B7CD-E20A06213CE0}"/>
                </a:ext>
              </a:extLst>
            </p:cNvPr>
            <p:cNvSpPr/>
            <p:nvPr/>
          </p:nvSpPr>
          <p:spPr>
            <a:xfrm>
              <a:off x="8055185" y="1828561"/>
              <a:ext cx="3657844" cy="246221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r"/>
              <a:r>
                <a:rPr 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" panose="020B0502040204020203" pitchFamily="34" charset="0"/>
                </a:rPr>
                <a:t>ANALYZE</a:t>
              </a:r>
            </a:p>
          </p:txBody>
        </p:sp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0D521F06-0DCB-40CB-BDE1-8E7884E683DA}"/>
                </a:ext>
              </a:extLst>
            </p:cNvPr>
            <p:cNvSpPr txBox="1"/>
            <p:nvPr/>
          </p:nvSpPr>
          <p:spPr>
            <a:xfrm>
              <a:off x="8055186" y="2147953"/>
              <a:ext cx="3657844" cy="861774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 anchor="t">
              <a:spAutoFit/>
            </a:bodyPr>
            <a:lstStyle/>
            <a:p>
              <a:pPr algn="r"/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" panose="020F0502020204030204" pitchFamily="34" charset="0"/>
                </a:rPr>
                <a:t>Lorem ipsum dolor sit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" panose="020F0502020204030204" pitchFamily="34" charset="0"/>
                </a:rPr>
                <a:t>amet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" panose="020F0502020204030204" pitchFamily="34" charset="0"/>
                </a:rPr>
                <a:t>,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" panose="020F0502020204030204" pitchFamily="34" charset="0"/>
                </a:rPr>
                <a:t>consectetur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" panose="020F0502020204030204" pitchFamily="34" charset="0"/>
                </a:rPr>
                <a:t>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" panose="020F0502020204030204" pitchFamily="34" charset="0"/>
                </a:rPr>
                <a:t>adipiscing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" panose="020F0502020204030204" pitchFamily="34" charset="0"/>
                </a:rPr>
                <a:t>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" panose="020F0502020204030204" pitchFamily="34" charset="0"/>
                </a:rPr>
                <a:t>elit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" panose="020F0502020204030204" pitchFamily="34" charset="0"/>
                </a:rPr>
                <a:t>. Duis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" panose="020F0502020204030204" pitchFamily="34" charset="0"/>
                </a:rPr>
                <a:t>suscipit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" panose="020F0502020204030204" pitchFamily="34" charset="0"/>
                </a:rPr>
                <a:t> in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" panose="020F0502020204030204" pitchFamily="34" charset="0"/>
                </a:rPr>
                <a:t>tellus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" panose="020F0502020204030204" pitchFamily="34" charset="0"/>
                </a:rPr>
                <a:t> ac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" panose="020F0502020204030204" pitchFamily="34" charset="0"/>
                </a:rPr>
                <a:t>bibendum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" panose="020F0502020204030204" pitchFamily="34" charset="0"/>
                </a:rPr>
                <a:t>. Sed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" panose="020F0502020204030204" pitchFamily="34" charset="0"/>
                </a:rPr>
                <a:t>congue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" panose="020F0502020204030204" pitchFamily="34" charset="0"/>
                </a:rPr>
                <a:t>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" panose="020F0502020204030204" pitchFamily="34" charset="0"/>
                </a:rPr>
                <a:t>lacus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" panose="020F0502020204030204" pitchFamily="34" charset="0"/>
                </a:rPr>
                <a:t> vitae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" panose="020F0502020204030204" pitchFamily="34" charset="0"/>
                </a:rPr>
                <a:t>tellus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" panose="020F0502020204030204" pitchFamily="34" charset="0"/>
                </a:rPr>
                <a:t>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" panose="020F0502020204030204" pitchFamily="34" charset="0"/>
                </a:rPr>
                <a:t>finibus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" panose="020F0502020204030204" pitchFamily="34" charset="0"/>
                </a:rPr>
                <a:t>.</a:t>
              </a:r>
            </a:p>
          </p:txBody>
        </p:sp>
      </p:grpSp>
      <p:grpSp>
        <p:nvGrpSpPr>
          <p:cNvPr id="81" name="Group 80">
            <a:extLst>
              <a:ext uri="{FF2B5EF4-FFF2-40B4-BE49-F238E27FC236}">
                <a16:creationId xmlns:a16="http://schemas.microsoft.com/office/drawing/2014/main" id="{C2F13641-4DB6-4EC7-A9DD-E26BD48DB1A5}"/>
              </a:ext>
            </a:extLst>
          </p:cNvPr>
          <p:cNvGrpSpPr/>
          <p:nvPr/>
        </p:nvGrpSpPr>
        <p:grpSpPr>
          <a:xfrm>
            <a:off x="456909" y="4455479"/>
            <a:ext cx="3657845" cy="1181166"/>
            <a:chOff x="8055185" y="1828561"/>
            <a:chExt cx="3657845" cy="1181166"/>
          </a:xfrm>
        </p:grpSpPr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2EA7619A-5BBE-44F1-9B9B-70C1F96F248F}"/>
                </a:ext>
              </a:extLst>
            </p:cNvPr>
            <p:cNvSpPr/>
            <p:nvPr/>
          </p:nvSpPr>
          <p:spPr>
            <a:xfrm>
              <a:off x="8055185" y="1828561"/>
              <a:ext cx="3657844" cy="246221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r"/>
              <a:r>
                <a:rPr 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" panose="020B0502040204020203" pitchFamily="34" charset="0"/>
                </a:rPr>
                <a:t>EVALUATE</a:t>
              </a: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6E1A26D2-3733-40B7-87FD-10EA0D69D594}"/>
                </a:ext>
              </a:extLst>
            </p:cNvPr>
            <p:cNvSpPr txBox="1"/>
            <p:nvPr/>
          </p:nvSpPr>
          <p:spPr>
            <a:xfrm>
              <a:off x="8055186" y="2147953"/>
              <a:ext cx="3657844" cy="861774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 anchor="t">
              <a:spAutoFit/>
            </a:bodyPr>
            <a:lstStyle/>
            <a:p>
              <a:pPr algn="r"/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" panose="020F0502020204030204" pitchFamily="34" charset="0"/>
                </a:rPr>
                <a:t>Lorem ipsum dolor sit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" panose="020F0502020204030204" pitchFamily="34" charset="0"/>
                </a:rPr>
                <a:t>amet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" panose="020F0502020204030204" pitchFamily="34" charset="0"/>
                </a:rPr>
                <a:t>,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" panose="020F0502020204030204" pitchFamily="34" charset="0"/>
                </a:rPr>
                <a:t>consectetur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" panose="020F0502020204030204" pitchFamily="34" charset="0"/>
                </a:rPr>
                <a:t>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" panose="020F0502020204030204" pitchFamily="34" charset="0"/>
                </a:rPr>
                <a:t>adipiscing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" panose="020F0502020204030204" pitchFamily="34" charset="0"/>
                </a:rPr>
                <a:t>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" panose="020F0502020204030204" pitchFamily="34" charset="0"/>
                </a:rPr>
                <a:t>elit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" panose="020F0502020204030204" pitchFamily="34" charset="0"/>
                </a:rPr>
                <a:t>. Duis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" panose="020F0502020204030204" pitchFamily="34" charset="0"/>
                </a:rPr>
                <a:t>suscipit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" panose="020F0502020204030204" pitchFamily="34" charset="0"/>
                </a:rPr>
                <a:t> in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" panose="020F0502020204030204" pitchFamily="34" charset="0"/>
                </a:rPr>
                <a:t>tellus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" panose="020F0502020204030204" pitchFamily="34" charset="0"/>
                </a:rPr>
                <a:t> ac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" panose="020F0502020204030204" pitchFamily="34" charset="0"/>
                </a:rPr>
                <a:t>bibendum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" panose="020F0502020204030204" pitchFamily="34" charset="0"/>
                </a:rPr>
                <a:t>. Sed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" panose="020F0502020204030204" pitchFamily="34" charset="0"/>
                </a:rPr>
                <a:t>congue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" panose="020F0502020204030204" pitchFamily="34" charset="0"/>
                </a:rPr>
                <a:t>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" panose="020F0502020204030204" pitchFamily="34" charset="0"/>
                </a:rPr>
                <a:t>lacus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" panose="020F0502020204030204" pitchFamily="34" charset="0"/>
                </a:rPr>
                <a:t> vitae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" panose="020F0502020204030204" pitchFamily="34" charset="0"/>
                </a:rPr>
                <a:t>tellus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" panose="020F0502020204030204" pitchFamily="34" charset="0"/>
                </a:rPr>
                <a:t>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" panose="020F0502020204030204" pitchFamily="34" charset="0"/>
                </a:rPr>
                <a:t>finibus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" panose="020F0502020204030204" pitchFamily="34" charset="0"/>
                </a:rPr>
                <a:t>.</a:t>
              </a:r>
            </a:p>
          </p:txBody>
        </p:sp>
      </p:grpSp>
      <p:sp>
        <p:nvSpPr>
          <p:cNvPr id="84" name="Freeform 950">
            <a:extLst>
              <a:ext uri="{FF2B5EF4-FFF2-40B4-BE49-F238E27FC236}">
                <a16:creationId xmlns:a16="http://schemas.microsoft.com/office/drawing/2014/main" id="{BB46BEBD-4344-433D-A0E8-3987A4C43B57}"/>
              </a:ext>
            </a:extLst>
          </p:cNvPr>
          <p:cNvSpPr>
            <a:spLocks noEditPoints="1"/>
          </p:cNvSpPr>
          <p:nvPr/>
        </p:nvSpPr>
        <p:spPr bwMode="auto">
          <a:xfrm>
            <a:off x="4672378" y="4905396"/>
            <a:ext cx="220663" cy="285750"/>
          </a:xfrm>
          <a:custGeom>
            <a:avLst/>
            <a:gdLst>
              <a:gd name="T0" fmla="*/ 542 w 553"/>
              <a:gd name="T1" fmla="*/ 205 h 722"/>
              <a:gd name="T2" fmla="*/ 323 w 553"/>
              <a:gd name="T3" fmla="*/ 313 h 722"/>
              <a:gd name="T4" fmla="*/ 312 w 553"/>
              <a:gd name="T5" fmla="*/ 306 h 722"/>
              <a:gd name="T6" fmla="*/ 315 w 553"/>
              <a:gd name="T7" fmla="*/ 293 h 722"/>
              <a:gd name="T8" fmla="*/ 444 w 553"/>
              <a:gd name="T9" fmla="*/ 289 h 722"/>
              <a:gd name="T10" fmla="*/ 455 w 553"/>
              <a:gd name="T11" fmla="*/ 297 h 722"/>
              <a:gd name="T12" fmla="*/ 452 w 553"/>
              <a:gd name="T13" fmla="*/ 310 h 722"/>
              <a:gd name="T14" fmla="*/ 444 w 553"/>
              <a:gd name="T15" fmla="*/ 433 h 722"/>
              <a:gd name="T16" fmla="*/ 315 w 553"/>
              <a:gd name="T17" fmla="*/ 430 h 722"/>
              <a:gd name="T18" fmla="*/ 312 w 553"/>
              <a:gd name="T19" fmla="*/ 417 h 722"/>
              <a:gd name="T20" fmla="*/ 323 w 553"/>
              <a:gd name="T21" fmla="*/ 409 h 722"/>
              <a:gd name="T22" fmla="*/ 452 w 553"/>
              <a:gd name="T23" fmla="*/ 413 h 722"/>
              <a:gd name="T24" fmla="*/ 455 w 553"/>
              <a:gd name="T25" fmla="*/ 426 h 722"/>
              <a:gd name="T26" fmla="*/ 444 w 553"/>
              <a:gd name="T27" fmla="*/ 433 h 722"/>
              <a:gd name="T28" fmla="*/ 318 w 553"/>
              <a:gd name="T29" fmla="*/ 577 h 722"/>
              <a:gd name="T30" fmla="*/ 311 w 553"/>
              <a:gd name="T31" fmla="*/ 566 h 722"/>
              <a:gd name="T32" fmla="*/ 318 w 553"/>
              <a:gd name="T33" fmla="*/ 555 h 722"/>
              <a:gd name="T34" fmla="*/ 449 w 553"/>
              <a:gd name="T35" fmla="*/ 555 h 722"/>
              <a:gd name="T36" fmla="*/ 456 w 553"/>
              <a:gd name="T37" fmla="*/ 566 h 722"/>
              <a:gd name="T38" fmla="*/ 449 w 553"/>
              <a:gd name="T39" fmla="*/ 577 h 722"/>
              <a:gd name="T40" fmla="*/ 194 w 553"/>
              <a:gd name="T41" fmla="*/ 325 h 722"/>
              <a:gd name="T42" fmla="*/ 181 w 553"/>
              <a:gd name="T43" fmla="*/ 327 h 722"/>
              <a:gd name="T44" fmla="*/ 129 w 553"/>
              <a:gd name="T45" fmla="*/ 275 h 722"/>
              <a:gd name="T46" fmla="*/ 132 w 553"/>
              <a:gd name="T47" fmla="*/ 262 h 722"/>
              <a:gd name="T48" fmla="*/ 145 w 553"/>
              <a:gd name="T49" fmla="*/ 260 h 722"/>
              <a:gd name="T50" fmla="*/ 253 w 553"/>
              <a:gd name="T51" fmla="*/ 232 h 722"/>
              <a:gd name="T52" fmla="*/ 267 w 553"/>
              <a:gd name="T53" fmla="*/ 230 h 722"/>
              <a:gd name="T54" fmla="*/ 274 w 553"/>
              <a:gd name="T55" fmla="*/ 240 h 722"/>
              <a:gd name="T56" fmla="*/ 271 w 553"/>
              <a:gd name="T57" fmla="*/ 386 h 722"/>
              <a:gd name="T58" fmla="*/ 186 w 553"/>
              <a:gd name="T59" fmla="*/ 465 h 722"/>
              <a:gd name="T60" fmla="*/ 132 w 553"/>
              <a:gd name="T61" fmla="*/ 415 h 722"/>
              <a:gd name="T62" fmla="*/ 129 w 553"/>
              <a:gd name="T63" fmla="*/ 403 h 722"/>
              <a:gd name="T64" fmla="*/ 140 w 553"/>
              <a:gd name="T65" fmla="*/ 395 h 722"/>
              <a:gd name="T66" fmla="*/ 186 w 553"/>
              <a:gd name="T67" fmla="*/ 436 h 722"/>
              <a:gd name="T68" fmla="*/ 262 w 553"/>
              <a:gd name="T69" fmla="*/ 365 h 722"/>
              <a:gd name="T70" fmla="*/ 273 w 553"/>
              <a:gd name="T71" fmla="*/ 372 h 722"/>
              <a:gd name="T72" fmla="*/ 271 w 553"/>
              <a:gd name="T73" fmla="*/ 386 h 722"/>
              <a:gd name="T74" fmla="*/ 190 w 553"/>
              <a:gd name="T75" fmla="*/ 601 h 722"/>
              <a:gd name="T76" fmla="*/ 178 w 553"/>
              <a:gd name="T77" fmla="*/ 599 h 722"/>
              <a:gd name="T78" fmla="*/ 128 w 553"/>
              <a:gd name="T79" fmla="*/ 545 h 722"/>
              <a:gd name="T80" fmla="*/ 136 w 553"/>
              <a:gd name="T81" fmla="*/ 533 h 722"/>
              <a:gd name="T82" fmla="*/ 149 w 553"/>
              <a:gd name="T83" fmla="*/ 535 h 722"/>
              <a:gd name="T84" fmla="*/ 258 w 553"/>
              <a:gd name="T85" fmla="*/ 502 h 722"/>
              <a:gd name="T86" fmla="*/ 271 w 553"/>
              <a:gd name="T87" fmla="*/ 505 h 722"/>
              <a:gd name="T88" fmla="*/ 273 w 553"/>
              <a:gd name="T89" fmla="*/ 518 h 722"/>
              <a:gd name="T90" fmla="*/ 357 w 553"/>
              <a:gd name="T91" fmla="*/ 3 h 722"/>
              <a:gd name="T92" fmla="*/ 12 w 553"/>
              <a:gd name="T93" fmla="*/ 0 h 722"/>
              <a:gd name="T94" fmla="*/ 1 w 553"/>
              <a:gd name="T95" fmla="*/ 7 h 722"/>
              <a:gd name="T96" fmla="*/ 1 w 553"/>
              <a:gd name="T97" fmla="*/ 715 h 722"/>
              <a:gd name="T98" fmla="*/ 12 w 553"/>
              <a:gd name="T99" fmla="*/ 722 h 722"/>
              <a:gd name="T100" fmla="*/ 550 w 553"/>
              <a:gd name="T101" fmla="*/ 719 h 722"/>
              <a:gd name="T102" fmla="*/ 553 w 553"/>
              <a:gd name="T103" fmla="*/ 205 h 7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553" h="722">
                <a:moveTo>
                  <a:pt x="349" y="205"/>
                </a:moveTo>
                <a:lnTo>
                  <a:pt x="349" y="12"/>
                </a:lnTo>
                <a:lnTo>
                  <a:pt x="542" y="205"/>
                </a:lnTo>
                <a:lnTo>
                  <a:pt x="349" y="205"/>
                </a:lnTo>
                <a:close/>
                <a:moveTo>
                  <a:pt x="444" y="313"/>
                </a:moveTo>
                <a:lnTo>
                  <a:pt x="323" y="313"/>
                </a:lnTo>
                <a:lnTo>
                  <a:pt x="318" y="312"/>
                </a:lnTo>
                <a:lnTo>
                  <a:pt x="315" y="310"/>
                </a:lnTo>
                <a:lnTo>
                  <a:pt x="312" y="306"/>
                </a:lnTo>
                <a:lnTo>
                  <a:pt x="311" y="301"/>
                </a:lnTo>
                <a:lnTo>
                  <a:pt x="312" y="297"/>
                </a:lnTo>
                <a:lnTo>
                  <a:pt x="315" y="293"/>
                </a:lnTo>
                <a:lnTo>
                  <a:pt x="318" y="290"/>
                </a:lnTo>
                <a:lnTo>
                  <a:pt x="323" y="289"/>
                </a:lnTo>
                <a:lnTo>
                  <a:pt x="444" y="289"/>
                </a:lnTo>
                <a:lnTo>
                  <a:pt x="449" y="290"/>
                </a:lnTo>
                <a:lnTo>
                  <a:pt x="452" y="293"/>
                </a:lnTo>
                <a:lnTo>
                  <a:pt x="455" y="297"/>
                </a:lnTo>
                <a:lnTo>
                  <a:pt x="456" y="301"/>
                </a:lnTo>
                <a:lnTo>
                  <a:pt x="455" y="306"/>
                </a:lnTo>
                <a:lnTo>
                  <a:pt x="452" y="310"/>
                </a:lnTo>
                <a:lnTo>
                  <a:pt x="449" y="312"/>
                </a:lnTo>
                <a:lnTo>
                  <a:pt x="444" y="313"/>
                </a:lnTo>
                <a:close/>
                <a:moveTo>
                  <a:pt x="444" y="433"/>
                </a:moveTo>
                <a:lnTo>
                  <a:pt x="323" y="433"/>
                </a:lnTo>
                <a:lnTo>
                  <a:pt x="318" y="432"/>
                </a:lnTo>
                <a:lnTo>
                  <a:pt x="315" y="430"/>
                </a:lnTo>
                <a:lnTo>
                  <a:pt x="312" y="426"/>
                </a:lnTo>
                <a:lnTo>
                  <a:pt x="311" y="421"/>
                </a:lnTo>
                <a:lnTo>
                  <a:pt x="312" y="417"/>
                </a:lnTo>
                <a:lnTo>
                  <a:pt x="315" y="413"/>
                </a:lnTo>
                <a:lnTo>
                  <a:pt x="318" y="410"/>
                </a:lnTo>
                <a:lnTo>
                  <a:pt x="323" y="409"/>
                </a:lnTo>
                <a:lnTo>
                  <a:pt x="444" y="409"/>
                </a:lnTo>
                <a:lnTo>
                  <a:pt x="449" y="410"/>
                </a:lnTo>
                <a:lnTo>
                  <a:pt x="452" y="413"/>
                </a:lnTo>
                <a:lnTo>
                  <a:pt x="455" y="417"/>
                </a:lnTo>
                <a:lnTo>
                  <a:pt x="456" y="421"/>
                </a:lnTo>
                <a:lnTo>
                  <a:pt x="455" y="426"/>
                </a:lnTo>
                <a:lnTo>
                  <a:pt x="452" y="430"/>
                </a:lnTo>
                <a:lnTo>
                  <a:pt x="449" y="432"/>
                </a:lnTo>
                <a:lnTo>
                  <a:pt x="444" y="433"/>
                </a:lnTo>
                <a:close/>
                <a:moveTo>
                  <a:pt x="444" y="578"/>
                </a:moveTo>
                <a:lnTo>
                  <a:pt x="323" y="578"/>
                </a:lnTo>
                <a:lnTo>
                  <a:pt x="318" y="577"/>
                </a:lnTo>
                <a:lnTo>
                  <a:pt x="315" y="574"/>
                </a:lnTo>
                <a:lnTo>
                  <a:pt x="312" y="571"/>
                </a:lnTo>
                <a:lnTo>
                  <a:pt x="311" y="566"/>
                </a:lnTo>
                <a:lnTo>
                  <a:pt x="312" y="561"/>
                </a:lnTo>
                <a:lnTo>
                  <a:pt x="315" y="558"/>
                </a:lnTo>
                <a:lnTo>
                  <a:pt x="318" y="555"/>
                </a:lnTo>
                <a:lnTo>
                  <a:pt x="323" y="554"/>
                </a:lnTo>
                <a:lnTo>
                  <a:pt x="444" y="554"/>
                </a:lnTo>
                <a:lnTo>
                  <a:pt x="449" y="555"/>
                </a:lnTo>
                <a:lnTo>
                  <a:pt x="452" y="558"/>
                </a:lnTo>
                <a:lnTo>
                  <a:pt x="455" y="561"/>
                </a:lnTo>
                <a:lnTo>
                  <a:pt x="456" y="566"/>
                </a:lnTo>
                <a:lnTo>
                  <a:pt x="455" y="571"/>
                </a:lnTo>
                <a:lnTo>
                  <a:pt x="452" y="574"/>
                </a:lnTo>
                <a:lnTo>
                  <a:pt x="449" y="577"/>
                </a:lnTo>
                <a:lnTo>
                  <a:pt x="444" y="578"/>
                </a:lnTo>
                <a:close/>
                <a:moveTo>
                  <a:pt x="271" y="249"/>
                </a:moveTo>
                <a:lnTo>
                  <a:pt x="194" y="325"/>
                </a:lnTo>
                <a:lnTo>
                  <a:pt x="190" y="327"/>
                </a:lnTo>
                <a:lnTo>
                  <a:pt x="186" y="328"/>
                </a:lnTo>
                <a:lnTo>
                  <a:pt x="181" y="327"/>
                </a:lnTo>
                <a:lnTo>
                  <a:pt x="178" y="325"/>
                </a:lnTo>
                <a:lnTo>
                  <a:pt x="132" y="280"/>
                </a:lnTo>
                <a:lnTo>
                  <a:pt x="129" y="275"/>
                </a:lnTo>
                <a:lnTo>
                  <a:pt x="128" y="270"/>
                </a:lnTo>
                <a:lnTo>
                  <a:pt x="129" y="266"/>
                </a:lnTo>
                <a:lnTo>
                  <a:pt x="132" y="262"/>
                </a:lnTo>
                <a:lnTo>
                  <a:pt x="136" y="260"/>
                </a:lnTo>
                <a:lnTo>
                  <a:pt x="140" y="259"/>
                </a:lnTo>
                <a:lnTo>
                  <a:pt x="145" y="260"/>
                </a:lnTo>
                <a:lnTo>
                  <a:pt x="149" y="262"/>
                </a:lnTo>
                <a:lnTo>
                  <a:pt x="186" y="299"/>
                </a:lnTo>
                <a:lnTo>
                  <a:pt x="253" y="232"/>
                </a:lnTo>
                <a:lnTo>
                  <a:pt x="258" y="230"/>
                </a:lnTo>
                <a:lnTo>
                  <a:pt x="262" y="229"/>
                </a:lnTo>
                <a:lnTo>
                  <a:pt x="267" y="230"/>
                </a:lnTo>
                <a:lnTo>
                  <a:pt x="271" y="232"/>
                </a:lnTo>
                <a:lnTo>
                  <a:pt x="273" y="236"/>
                </a:lnTo>
                <a:lnTo>
                  <a:pt x="274" y="240"/>
                </a:lnTo>
                <a:lnTo>
                  <a:pt x="273" y="245"/>
                </a:lnTo>
                <a:lnTo>
                  <a:pt x="271" y="249"/>
                </a:lnTo>
                <a:close/>
                <a:moveTo>
                  <a:pt x="271" y="386"/>
                </a:moveTo>
                <a:lnTo>
                  <a:pt x="194" y="461"/>
                </a:lnTo>
                <a:lnTo>
                  <a:pt x="190" y="464"/>
                </a:lnTo>
                <a:lnTo>
                  <a:pt x="186" y="465"/>
                </a:lnTo>
                <a:lnTo>
                  <a:pt x="181" y="464"/>
                </a:lnTo>
                <a:lnTo>
                  <a:pt x="178" y="461"/>
                </a:lnTo>
                <a:lnTo>
                  <a:pt x="132" y="415"/>
                </a:lnTo>
                <a:lnTo>
                  <a:pt x="129" y="411"/>
                </a:lnTo>
                <a:lnTo>
                  <a:pt x="128" y="407"/>
                </a:lnTo>
                <a:lnTo>
                  <a:pt x="129" y="403"/>
                </a:lnTo>
                <a:lnTo>
                  <a:pt x="132" y="399"/>
                </a:lnTo>
                <a:lnTo>
                  <a:pt x="136" y="396"/>
                </a:lnTo>
                <a:lnTo>
                  <a:pt x="140" y="395"/>
                </a:lnTo>
                <a:lnTo>
                  <a:pt x="145" y="396"/>
                </a:lnTo>
                <a:lnTo>
                  <a:pt x="149" y="399"/>
                </a:lnTo>
                <a:lnTo>
                  <a:pt x="186" y="436"/>
                </a:lnTo>
                <a:lnTo>
                  <a:pt x="253" y="368"/>
                </a:lnTo>
                <a:lnTo>
                  <a:pt x="258" y="365"/>
                </a:lnTo>
                <a:lnTo>
                  <a:pt x="262" y="365"/>
                </a:lnTo>
                <a:lnTo>
                  <a:pt x="267" y="365"/>
                </a:lnTo>
                <a:lnTo>
                  <a:pt x="271" y="368"/>
                </a:lnTo>
                <a:lnTo>
                  <a:pt x="273" y="372"/>
                </a:lnTo>
                <a:lnTo>
                  <a:pt x="274" y="376"/>
                </a:lnTo>
                <a:lnTo>
                  <a:pt x="273" y="381"/>
                </a:lnTo>
                <a:lnTo>
                  <a:pt x="271" y="386"/>
                </a:lnTo>
                <a:close/>
                <a:moveTo>
                  <a:pt x="271" y="522"/>
                </a:moveTo>
                <a:lnTo>
                  <a:pt x="194" y="599"/>
                </a:lnTo>
                <a:lnTo>
                  <a:pt x="190" y="601"/>
                </a:lnTo>
                <a:lnTo>
                  <a:pt x="186" y="602"/>
                </a:lnTo>
                <a:lnTo>
                  <a:pt x="181" y="601"/>
                </a:lnTo>
                <a:lnTo>
                  <a:pt x="178" y="599"/>
                </a:lnTo>
                <a:lnTo>
                  <a:pt x="132" y="553"/>
                </a:lnTo>
                <a:lnTo>
                  <a:pt x="129" y="549"/>
                </a:lnTo>
                <a:lnTo>
                  <a:pt x="128" y="545"/>
                </a:lnTo>
                <a:lnTo>
                  <a:pt x="129" y="540"/>
                </a:lnTo>
                <a:lnTo>
                  <a:pt x="132" y="535"/>
                </a:lnTo>
                <a:lnTo>
                  <a:pt x="136" y="533"/>
                </a:lnTo>
                <a:lnTo>
                  <a:pt x="140" y="532"/>
                </a:lnTo>
                <a:lnTo>
                  <a:pt x="145" y="533"/>
                </a:lnTo>
                <a:lnTo>
                  <a:pt x="149" y="535"/>
                </a:lnTo>
                <a:lnTo>
                  <a:pt x="186" y="572"/>
                </a:lnTo>
                <a:lnTo>
                  <a:pt x="253" y="505"/>
                </a:lnTo>
                <a:lnTo>
                  <a:pt x="258" y="502"/>
                </a:lnTo>
                <a:lnTo>
                  <a:pt x="262" y="501"/>
                </a:lnTo>
                <a:lnTo>
                  <a:pt x="267" y="502"/>
                </a:lnTo>
                <a:lnTo>
                  <a:pt x="271" y="505"/>
                </a:lnTo>
                <a:lnTo>
                  <a:pt x="273" y="509"/>
                </a:lnTo>
                <a:lnTo>
                  <a:pt x="274" y="513"/>
                </a:lnTo>
                <a:lnTo>
                  <a:pt x="273" y="518"/>
                </a:lnTo>
                <a:lnTo>
                  <a:pt x="271" y="522"/>
                </a:lnTo>
                <a:close/>
                <a:moveTo>
                  <a:pt x="550" y="196"/>
                </a:moveTo>
                <a:lnTo>
                  <a:pt x="357" y="3"/>
                </a:lnTo>
                <a:lnTo>
                  <a:pt x="353" y="1"/>
                </a:lnTo>
                <a:lnTo>
                  <a:pt x="349" y="0"/>
                </a:lnTo>
                <a:lnTo>
                  <a:pt x="12" y="0"/>
                </a:lnTo>
                <a:lnTo>
                  <a:pt x="7" y="1"/>
                </a:lnTo>
                <a:lnTo>
                  <a:pt x="4" y="3"/>
                </a:lnTo>
                <a:lnTo>
                  <a:pt x="1" y="7"/>
                </a:lnTo>
                <a:lnTo>
                  <a:pt x="0" y="12"/>
                </a:lnTo>
                <a:lnTo>
                  <a:pt x="0" y="711"/>
                </a:lnTo>
                <a:lnTo>
                  <a:pt x="1" y="715"/>
                </a:lnTo>
                <a:lnTo>
                  <a:pt x="4" y="719"/>
                </a:lnTo>
                <a:lnTo>
                  <a:pt x="7" y="721"/>
                </a:lnTo>
                <a:lnTo>
                  <a:pt x="12" y="722"/>
                </a:lnTo>
                <a:lnTo>
                  <a:pt x="542" y="722"/>
                </a:lnTo>
                <a:lnTo>
                  <a:pt x="546" y="721"/>
                </a:lnTo>
                <a:lnTo>
                  <a:pt x="550" y="719"/>
                </a:lnTo>
                <a:lnTo>
                  <a:pt x="552" y="715"/>
                </a:lnTo>
                <a:lnTo>
                  <a:pt x="553" y="711"/>
                </a:lnTo>
                <a:lnTo>
                  <a:pt x="553" y="205"/>
                </a:lnTo>
                <a:lnTo>
                  <a:pt x="552" y="200"/>
                </a:lnTo>
                <a:lnTo>
                  <a:pt x="550" y="19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" name="Rectangle 5">
            <a:extLst>
              <a:ext uri="{FF2B5EF4-FFF2-40B4-BE49-F238E27FC236}">
                <a16:creationId xmlns:a16="http://schemas.microsoft.com/office/drawing/2014/main" id="{F059B1EF-628C-409B-91BE-18AD083D0C8D}"/>
              </a:ext>
            </a:extLst>
          </p:cNvPr>
          <p:cNvSpPr/>
          <p:nvPr/>
        </p:nvSpPr>
        <p:spPr>
          <a:xfrm>
            <a:off x="-145143" y="632389"/>
            <a:ext cx="12482286" cy="6089086"/>
          </a:xfrm>
          <a:custGeom>
            <a:avLst/>
            <a:gdLst>
              <a:gd name="connsiteX0" fmla="*/ 0 w 11582400"/>
              <a:gd name="connsiteY0" fmla="*/ 0 h 6073775"/>
              <a:gd name="connsiteX1" fmla="*/ 11582400 w 11582400"/>
              <a:gd name="connsiteY1" fmla="*/ 0 h 6073775"/>
              <a:gd name="connsiteX2" fmla="*/ 11582400 w 11582400"/>
              <a:gd name="connsiteY2" fmla="*/ 6073775 h 6073775"/>
              <a:gd name="connsiteX3" fmla="*/ 0 w 11582400"/>
              <a:gd name="connsiteY3" fmla="*/ 6073775 h 6073775"/>
              <a:gd name="connsiteX4" fmla="*/ 0 w 11582400"/>
              <a:gd name="connsiteY4" fmla="*/ 0 h 6073775"/>
              <a:gd name="connsiteX0" fmla="*/ 0 w 11582400"/>
              <a:gd name="connsiteY0" fmla="*/ 6765 h 6080540"/>
              <a:gd name="connsiteX1" fmla="*/ 8309361 w 11582400"/>
              <a:gd name="connsiteY1" fmla="*/ 0 h 6080540"/>
              <a:gd name="connsiteX2" fmla="*/ 11582400 w 11582400"/>
              <a:gd name="connsiteY2" fmla="*/ 6765 h 6080540"/>
              <a:gd name="connsiteX3" fmla="*/ 11582400 w 11582400"/>
              <a:gd name="connsiteY3" fmla="*/ 6080540 h 6080540"/>
              <a:gd name="connsiteX4" fmla="*/ 0 w 11582400"/>
              <a:gd name="connsiteY4" fmla="*/ 6080540 h 6080540"/>
              <a:gd name="connsiteX5" fmla="*/ 0 w 11582400"/>
              <a:gd name="connsiteY5" fmla="*/ 6765 h 6080540"/>
              <a:gd name="connsiteX0" fmla="*/ 0 w 11582400"/>
              <a:gd name="connsiteY0" fmla="*/ 15311 h 6089086"/>
              <a:gd name="connsiteX1" fmla="*/ 3267342 w 11582400"/>
              <a:gd name="connsiteY1" fmla="*/ 0 h 6089086"/>
              <a:gd name="connsiteX2" fmla="*/ 8309361 w 11582400"/>
              <a:gd name="connsiteY2" fmla="*/ 8546 h 6089086"/>
              <a:gd name="connsiteX3" fmla="*/ 11582400 w 11582400"/>
              <a:gd name="connsiteY3" fmla="*/ 15311 h 6089086"/>
              <a:gd name="connsiteX4" fmla="*/ 11582400 w 11582400"/>
              <a:gd name="connsiteY4" fmla="*/ 6089086 h 6089086"/>
              <a:gd name="connsiteX5" fmla="*/ 0 w 11582400"/>
              <a:gd name="connsiteY5" fmla="*/ 6089086 h 6089086"/>
              <a:gd name="connsiteX6" fmla="*/ 0 w 11582400"/>
              <a:gd name="connsiteY6" fmla="*/ 15311 h 6089086"/>
              <a:gd name="connsiteX0" fmla="*/ 0 w 11582400"/>
              <a:gd name="connsiteY0" fmla="*/ 23857 h 6097632"/>
              <a:gd name="connsiteX1" fmla="*/ 3267342 w 11582400"/>
              <a:gd name="connsiteY1" fmla="*/ 8546 h 6097632"/>
              <a:gd name="connsiteX2" fmla="*/ 5386699 w 11582400"/>
              <a:gd name="connsiteY2" fmla="*/ 0 h 6097632"/>
              <a:gd name="connsiteX3" fmla="*/ 8309361 w 11582400"/>
              <a:gd name="connsiteY3" fmla="*/ 17092 h 6097632"/>
              <a:gd name="connsiteX4" fmla="*/ 11582400 w 11582400"/>
              <a:gd name="connsiteY4" fmla="*/ 23857 h 6097632"/>
              <a:gd name="connsiteX5" fmla="*/ 11582400 w 11582400"/>
              <a:gd name="connsiteY5" fmla="*/ 6097632 h 6097632"/>
              <a:gd name="connsiteX6" fmla="*/ 0 w 11582400"/>
              <a:gd name="connsiteY6" fmla="*/ 6097632 h 6097632"/>
              <a:gd name="connsiteX7" fmla="*/ 0 w 11582400"/>
              <a:gd name="connsiteY7" fmla="*/ 23857 h 6097632"/>
              <a:gd name="connsiteX0" fmla="*/ 5386699 w 11582400"/>
              <a:gd name="connsiteY0" fmla="*/ 0 h 6097632"/>
              <a:gd name="connsiteX1" fmla="*/ 8309361 w 11582400"/>
              <a:gd name="connsiteY1" fmla="*/ 17092 h 6097632"/>
              <a:gd name="connsiteX2" fmla="*/ 11582400 w 11582400"/>
              <a:gd name="connsiteY2" fmla="*/ 23857 h 6097632"/>
              <a:gd name="connsiteX3" fmla="*/ 11582400 w 11582400"/>
              <a:gd name="connsiteY3" fmla="*/ 6097632 h 6097632"/>
              <a:gd name="connsiteX4" fmla="*/ 0 w 11582400"/>
              <a:gd name="connsiteY4" fmla="*/ 6097632 h 6097632"/>
              <a:gd name="connsiteX5" fmla="*/ 0 w 11582400"/>
              <a:gd name="connsiteY5" fmla="*/ 23857 h 6097632"/>
              <a:gd name="connsiteX6" fmla="*/ 3267342 w 11582400"/>
              <a:gd name="connsiteY6" fmla="*/ 8546 h 6097632"/>
              <a:gd name="connsiteX7" fmla="*/ 5478139 w 11582400"/>
              <a:gd name="connsiteY7" fmla="*/ 91440 h 6097632"/>
              <a:gd name="connsiteX0" fmla="*/ 8309361 w 11582400"/>
              <a:gd name="connsiteY0" fmla="*/ 8616 h 6089156"/>
              <a:gd name="connsiteX1" fmla="*/ 11582400 w 11582400"/>
              <a:gd name="connsiteY1" fmla="*/ 15381 h 6089156"/>
              <a:gd name="connsiteX2" fmla="*/ 11582400 w 11582400"/>
              <a:gd name="connsiteY2" fmla="*/ 6089156 h 6089156"/>
              <a:gd name="connsiteX3" fmla="*/ 0 w 11582400"/>
              <a:gd name="connsiteY3" fmla="*/ 6089156 h 6089156"/>
              <a:gd name="connsiteX4" fmla="*/ 0 w 11582400"/>
              <a:gd name="connsiteY4" fmla="*/ 15381 h 6089156"/>
              <a:gd name="connsiteX5" fmla="*/ 3267342 w 11582400"/>
              <a:gd name="connsiteY5" fmla="*/ 70 h 6089156"/>
              <a:gd name="connsiteX6" fmla="*/ 5478139 w 11582400"/>
              <a:gd name="connsiteY6" fmla="*/ 82964 h 6089156"/>
              <a:gd name="connsiteX0" fmla="*/ 8309361 w 11582400"/>
              <a:gd name="connsiteY0" fmla="*/ 8546 h 6089086"/>
              <a:gd name="connsiteX1" fmla="*/ 11582400 w 11582400"/>
              <a:gd name="connsiteY1" fmla="*/ 15311 h 6089086"/>
              <a:gd name="connsiteX2" fmla="*/ 11582400 w 11582400"/>
              <a:gd name="connsiteY2" fmla="*/ 6089086 h 6089086"/>
              <a:gd name="connsiteX3" fmla="*/ 0 w 11582400"/>
              <a:gd name="connsiteY3" fmla="*/ 6089086 h 6089086"/>
              <a:gd name="connsiteX4" fmla="*/ 0 w 11582400"/>
              <a:gd name="connsiteY4" fmla="*/ 15311 h 6089086"/>
              <a:gd name="connsiteX5" fmla="*/ 3267342 w 11582400"/>
              <a:gd name="connsiteY5" fmla="*/ 0 h 60890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582400" h="6089086">
                <a:moveTo>
                  <a:pt x="8309361" y="8546"/>
                </a:moveTo>
                <a:lnTo>
                  <a:pt x="11582400" y="15311"/>
                </a:lnTo>
                <a:lnTo>
                  <a:pt x="11582400" y="6089086"/>
                </a:lnTo>
                <a:lnTo>
                  <a:pt x="0" y="6089086"/>
                </a:lnTo>
                <a:lnTo>
                  <a:pt x="0" y="15311"/>
                </a:lnTo>
                <a:lnTo>
                  <a:pt x="3267342" y="0"/>
                </a:lnTo>
              </a:path>
            </a:pathLst>
          </a:custGeom>
          <a:noFill/>
          <a:ln w="6350">
            <a:solidFill>
              <a:schemeClr val="accent2"/>
            </a:solidFill>
            <a:headEnd type="oval"/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591271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C094B0E2-52F1-47A9-B0CD-64F57F5DE476}"/>
              </a:ext>
            </a:extLst>
          </p:cNvPr>
          <p:cNvSpPr txBox="1"/>
          <p:nvPr/>
        </p:nvSpPr>
        <p:spPr>
          <a:xfrm>
            <a:off x="190500" y="241300"/>
            <a:ext cx="11811000" cy="8002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3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rPr>
              <a:t>Project Management</a:t>
            </a:r>
          </a:p>
          <a:p>
            <a:pPr algn="ctr"/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rPr>
              <a:t>Template Pack</a:t>
            </a:r>
            <a:endParaRPr lang="id-ID" sz="20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ABA8D8A-3C74-47D4-9A47-6C113AB1DC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65069E-FEA1-427A-A048-CF60E8D1D63F}" type="datetime1">
              <a:rPr lang="en-US" sz="1000" smtClean="0"/>
              <a:t>5/8/2019</a:t>
            </a:fld>
            <a:endParaRPr lang="en-US" sz="10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28A193C-DE62-45B9-BC6C-339547738B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EFC3F0-C584-483B-B1FE-52BE924CB19D}" type="slidenum">
              <a:rPr lang="en-US" sz="1000" smtClean="0"/>
              <a:t>4</a:t>
            </a:fld>
            <a:endParaRPr lang="en-US" sz="1000"/>
          </a:p>
        </p:txBody>
      </p:sp>
      <p:sp>
        <p:nvSpPr>
          <p:cNvPr id="5" name="Arrow: Chevron 4">
            <a:extLst>
              <a:ext uri="{FF2B5EF4-FFF2-40B4-BE49-F238E27FC236}">
                <a16:creationId xmlns:a16="http://schemas.microsoft.com/office/drawing/2014/main" id="{3E287FEB-C22C-4589-8314-AA30F00A0C05}"/>
              </a:ext>
            </a:extLst>
          </p:cNvPr>
          <p:cNvSpPr/>
          <p:nvPr/>
        </p:nvSpPr>
        <p:spPr>
          <a:xfrm>
            <a:off x="580571" y="2914650"/>
            <a:ext cx="2975702" cy="869950"/>
          </a:xfrm>
          <a:prstGeom prst="chevron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INITIATION</a:t>
            </a:r>
          </a:p>
        </p:txBody>
      </p:sp>
      <p:sp>
        <p:nvSpPr>
          <p:cNvPr id="31" name="Arrow: Chevron 30">
            <a:extLst>
              <a:ext uri="{FF2B5EF4-FFF2-40B4-BE49-F238E27FC236}">
                <a16:creationId xmlns:a16="http://schemas.microsoft.com/office/drawing/2014/main" id="{4CCA9D9D-E731-4463-91CC-D4277AAD1F4F}"/>
              </a:ext>
            </a:extLst>
          </p:cNvPr>
          <p:cNvSpPr/>
          <p:nvPr/>
        </p:nvSpPr>
        <p:spPr>
          <a:xfrm>
            <a:off x="3265623" y="2914650"/>
            <a:ext cx="2975702" cy="869950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LANNING</a:t>
            </a:r>
          </a:p>
        </p:txBody>
      </p:sp>
      <p:sp>
        <p:nvSpPr>
          <p:cNvPr id="32" name="Arrow: Chevron 31">
            <a:extLst>
              <a:ext uri="{FF2B5EF4-FFF2-40B4-BE49-F238E27FC236}">
                <a16:creationId xmlns:a16="http://schemas.microsoft.com/office/drawing/2014/main" id="{D4B93BAC-FC06-462D-9E8C-3F06D2B08468}"/>
              </a:ext>
            </a:extLst>
          </p:cNvPr>
          <p:cNvSpPr/>
          <p:nvPr/>
        </p:nvSpPr>
        <p:spPr>
          <a:xfrm>
            <a:off x="5950674" y="2916464"/>
            <a:ext cx="2975702" cy="869950"/>
          </a:xfrm>
          <a:prstGeom prst="chevron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EXECUTION</a:t>
            </a:r>
          </a:p>
        </p:txBody>
      </p:sp>
      <p:sp>
        <p:nvSpPr>
          <p:cNvPr id="33" name="Arrow: Chevron 32">
            <a:extLst>
              <a:ext uri="{FF2B5EF4-FFF2-40B4-BE49-F238E27FC236}">
                <a16:creationId xmlns:a16="http://schemas.microsoft.com/office/drawing/2014/main" id="{5ECE079B-842E-4934-96D0-4736D8A40E2C}"/>
              </a:ext>
            </a:extLst>
          </p:cNvPr>
          <p:cNvSpPr/>
          <p:nvPr/>
        </p:nvSpPr>
        <p:spPr>
          <a:xfrm>
            <a:off x="8635727" y="2914650"/>
            <a:ext cx="2975702" cy="869950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LOSURE</a:t>
            </a:r>
          </a:p>
        </p:txBody>
      </p:sp>
      <p:sp>
        <p:nvSpPr>
          <p:cNvPr id="45" name="Freeform 1823">
            <a:extLst>
              <a:ext uri="{FF2B5EF4-FFF2-40B4-BE49-F238E27FC236}">
                <a16:creationId xmlns:a16="http://schemas.microsoft.com/office/drawing/2014/main" id="{887C4CD5-420C-4BAB-9305-DACBF7D2F4BB}"/>
              </a:ext>
            </a:extLst>
          </p:cNvPr>
          <p:cNvSpPr>
            <a:spLocks/>
          </p:cNvSpPr>
          <p:nvPr/>
        </p:nvSpPr>
        <p:spPr bwMode="auto">
          <a:xfrm flipH="1">
            <a:off x="5283200" y="1824492"/>
            <a:ext cx="1625600" cy="770022"/>
          </a:xfrm>
          <a:custGeom>
            <a:avLst/>
            <a:gdLst>
              <a:gd name="T0" fmla="*/ 424 w 458"/>
              <a:gd name="T1" fmla="*/ 213 h 215"/>
              <a:gd name="T2" fmla="*/ 438 w 458"/>
              <a:gd name="T3" fmla="*/ 214 h 215"/>
              <a:gd name="T4" fmla="*/ 450 w 458"/>
              <a:gd name="T5" fmla="*/ 210 h 215"/>
              <a:gd name="T6" fmla="*/ 457 w 458"/>
              <a:gd name="T7" fmla="*/ 197 h 215"/>
              <a:gd name="T8" fmla="*/ 457 w 458"/>
              <a:gd name="T9" fmla="*/ 184 h 215"/>
              <a:gd name="T10" fmla="*/ 442 w 458"/>
              <a:gd name="T11" fmla="*/ 163 h 215"/>
              <a:gd name="T12" fmla="*/ 409 w 458"/>
              <a:gd name="T13" fmla="*/ 132 h 215"/>
              <a:gd name="T14" fmla="*/ 370 w 458"/>
              <a:gd name="T15" fmla="*/ 107 h 215"/>
              <a:gd name="T16" fmla="*/ 329 w 458"/>
              <a:gd name="T17" fmla="*/ 87 h 215"/>
              <a:gd name="T18" fmla="*/ 285 w 458"/>
              <a:gd name="T19" fmla="*/ 74 h 215"/>
              <a:gd name="T20" fmla="*/ 239 w 458"/>
              <a:gd name="T21" fmla="*/ 67 h 215"/>
              <a:gd name="T22" fmla="*/ 175 w 458"/>
              <a:gd name="T23" fmla="*/ 69 h 215"/>
              <a:gd name="T24" fmla="*/ 114 w 458"/>
              <a:gd name="T25" fmla="*/ 84 h 215"/>
              <a:gd name="T26" fmla="*/ 102 w 458"/>
              <a:gd name="T27" fmla="*/ 33 h 215"/>
              <a:gd name="T28" fmla="*/ 104 w 458"/>
              <a:gd name="T29" fmla="*/ 19 h 215"/>
              <a:gd name="T30" fmla="*/ 97 w 458"/>
              <a:gd name="T31" fmla="*/ 6 h 215"/>
              <a:gd name="T32" fmla="*/ 84 w 458"/>
              <a:gd name="T33" fmla="*/ 0 h 215"/>
              <a:gd name="T34" fmla="*/ 71 w 458"/>
              <a:gd name="T35" fmla="*/ 2 h 215"/>
              <a:gd name="T36" fmla="*/ 60 w 458"/>
              <a:gd name="T37" fmla="*/ 11 h 215"/>
              <a:gd name="T38" fmla="*/ 2 w 458"/>
              <a:gd name="T39" fmla="*/ 153 h 215"/>
              <a:gd name="T40" fmla="*/ 1 w 458"/>
              <a:gd name="T41" fmla="*/ 155 h 215"/>
              <a:gd name="T42" fmla="*/ 0 w 458"/>
              <a:gd name="T43" fmla="*/ 160 h 215"/>
              <a:gd name="T44" fmla="*/ 3 w 458"/>
              <a:gd name="T45" fmla="*/ 173 h 215"/>
              <a:gd name="T46" fmla="*/ 3 w 458"/>
              <a:gd name="T47" fmla="*/ 173 h 215"/>
              <a:gd name="T48" fmla="*/ 6 w 458"/>
              <a:gd name="T49" fmla="*/ 176 h 215"/>
              <a:gd name="T50" fmla="*/ 7 w 458"/>
              <a:gd name="T51" fmla="*/ 176 h 215"/>
              <a:gd name="T52" fmla="*/ 9 w 458"/>
              <a:gd name="T53" fmla="*/ 180 h 215"/>
              <a:gd name="T54" fmla="*/ 11 w 458"/>
              <a:gd name="T55" fmla="*/ 182 h 215"/>
              <a:gd name="T56" fmla="*/ 14 w 458"/>
              <a:gd name="T57" fmla="*/ 183 h 215"/>
              <a:gd name="T58" fmla="*/ 19 w 458"/>
              <a:gd name="T59" fmla="*/ 185 h 215"/>
              <a:gd name="T60" fmla="*/ 22 w 458"/>
              <a:gd name="T61" fmla="*/ 185 h 215"/>
              <a:gd name="T62" fmla="*/ 172 w 458"/>
              <a:gd name="T63" fmla="*/ 201 h 215"/>
              <a:gd name="T64" fmla="*/ 186 w 458"/>
              <a:gd name="T65" fmla="*/ 196 h 215"/>
              <a:gd name="T66" fmla="*/ 193 w 458"/>
              <a:gd name="T67" fmla="*/ 188 h 215"/>
              <a:gd name="T68" fmla="*/ 197 w 458"/>
              <a:gd name="T69" fmla="*/ 174 h 215"/>
              <a:gd name="T70" fmla="*/ 191 w 458"/>
              <a:gd name="T71" fmla="*/ 161 h 215"/>
              <a:gd name="T72" fmla="*/ 180 w 458"/>
              <a:gd name="T73" fmla="*/ 153 h 215"/>
              <a:gd name="T74" fmla="*/ 111 w 458"/>
              <a:gd name="T75" fmla="*/ 137 h 215"/>
              <a:gd name="T76" fmla="*/ 162 w 458"/>
              <a:gd name="T77" fmla="*/ 120 h 215"/>
              <a:gd name="T78" fmla="*/ 217 w 458"/>
              <a:gd name="T79" fmla="*/ 115 h 215"/>
              <a:gd name="T80" fmla="*/ 262 w 458"/>
              <a:gd name="T81" fmla="*/ 118 h 215"/>
              <a:gd name="T82" fmla="*/ 299 w 458"/>
              <a:gd name="T83" fmla="*/ 128 h 215"/>
              <a:gd name="T84" fmla="*/ 335 w 458"/>
              <a:gd name="T85" fmla="*/ 142 h 215"/>
              <a:gd name="T86" fmla="*/ 368 w 458"/>
              <a:gd name="T87" fmla="*/ 162 h 215"/>
              <a:gd name="T88" fmla="*/ 399 w 458"/>
              <a:gd name="T89" fmla="*/ 188 h 2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458" h="215">
                <a:moveTo>
                  <a:pt x="416" y="206"/>
                </a:moveTo>
                <a:lnTo>
                  <a:pt x="420" y="211"/>
                </a:lnTo>
                <a:lnTo>
                  <a:pt x="424" y="213"/>
                </a:lnTo>
                <a:lnTo>
                  <a:pt x="430" y="214"/>
                </a:lnTo>
                <a:lnTo>
                  <a:pt x="434" y="215"/>
                </a:lnTo>
                <a:lnTo>
                  <a:pt x="438" y="214"/>
                </a:lnTo>
                <a:lnTo>
                  <a:pt x="443" y="214"/>
                </a:lnTo>
                <a:lnTo>
                  <a:pt x="446" y="212"/>
                </a:lnTo>
                <a:lnTo>
                  <a:pt x="450" y="210"/>
                </a:lnTo>
                <a:lnTo>
                  <a:pt x="453" y="206"/>
                </a:lnTo>
                <a:lnTo>
                  <a:pt x="456" y="202"/>
                </a:lnTo>
                <a:lnTo>
                  <a:pt x="457" y="197"/>
                </a:lnTo>
                <a:lnTo>
                  <a:pt x="458" y="193"/>
                </a:lnTo>
                <a:lnTo>
                  <a:pt x="458" y="189"/>
                </a:lnTo>
                <a:lnTo>
                  <a:pt x="457" y="184"/>
                </a:lnTo>
                <a:lnTo>
                  <a:pt x="455" y="180"/>
                </a:lnTo>
                <a:lnTo>
                  <a:pt x="453" y="175"/>
                </a:lnTo>
                <a:lnTo>
                  <a:pt x="442" y="163"/>
                </a:lnTo>
                <a:lnTo>
                  <a:pt x="432" y="152"/>
                </a:lnTo>
                <a:lnTo>
                  <a:pt x="420" y="142"/>
                </a:lnTo>
                <a:lnTo>
                  <a:pt x="409" y="132"/>
                </a:lnTo>
                <a:lnTo>
                  <a:pt x="397" y="123"/>
                </a:lnTo>
                <a:lnTo>
                  <a:pt x="383" y="115"/>
                </a:lnTo>
                <a:lnTo>
                  <a:pt x="370" y="107"/>
                </a:lnTo>
                <a:lnTo>
                  <a:pt x="357" y="100"/>
                </a:lnTo>
                <a:lnTo>
                  <a:pt x="344" y="94"/>
                </a:lnTo>
                <a:lnTo>
                  <a:pt x="329" y="87"/>
                </a:lnTo>
                <a:lnTo>
                  <a:pt x="315" y="83"/>
                </a:lnTo>
                <a:lnTo>
                  <a:pt x="299" y="78"/>
                </a:lnTo>
                <a:lnTo>
                  <a:pt x="285" y="74"/>
                </a:lnTo>
                <a:lnTo>
                  <a:pt x="270" y="72"/>
                </a:lnTo>
                <a:lnTo>
                  <a:pt x="254" y="69"/>
                </a:lnTo>
                <a:lnTo>
                  <a:pt x="239" y="67"/>
                </a:lnTo>
                <a:lnTo>
                  <a:pt x="217" y="67"/>
                </a:lnTo>
                <a:lnTo>
                  <a:pt x="196" y="67"/>
                </a:lnTo>
                <a:lnTo>
                  <a:pt x="175" y="69"/>
                </a:lnTo>
                <a:lnTo>
                  <a:pt x="154" y="74"/>
                </a:lnTo>
                <a:lnTo>
                  <a:pt x="134" y="78"/>
                </a:lnTo>
                <a:lnTo>
                  <a:pt x="114" y="84"/>
                </a:lnTo>
                <a:lnTo>
                  <a:pt x="94" y="91"/>
                </a:lnTo>
                <a:lnTo>
                  <a:pt x="75" y="100"/>
                </a:lnTo>
                <a:lnTo>
                  <a:pt x="102" y="33"/>
                </a:lnTo>
                <a:lnTo>
                  <a:pt x="104" y="28"/>
                </a:lnTo>
                <a:lnTo>
                  <a:pt x="104" y="23"/>
                </a:lnTo>
                <a:lnTo>
                  <a:pt x="104" y="19"/>
                </a:lnTo>
                <a:lnTo>
                  <a:pt x="102" y="14"/>
                </a:lnTo>
                <a:lnTo>
                  <a:pt x="99" y="11"/>
                </a:lnTo>
                <a:lnTo>
                  <a:pt x="97" y="6"/>
                </a:lnTo>
                <a:lnTo>
                  <a:pt x="93" y="4"/>
                </a:lnTo>
                <a:lnTo>
                  <a:pt x="88" y="2"/>
                </a:lnTo>
                <a:lnTo>
                  <a:pt x="84" y="0"/>
                </a:lnTo>
                <a:lnTo>
                  <a:pt x="80" y="0"/>
                </a:lnTo>
                <a:lnTo>
                  <a:pt x="75" y="1"/>
                </a:lnTo>
                <a:lnTo>
                  <a:pt x="71" y="2"/>
                </a:lnTo>
                <a:lnTo>
                  <a:pt x="66" y="4"/>
                </a:lnTo>
                <a:lnTo>
                  <a:pt x="63" y="6"/>
                </a:lnTo>
                <a:lnTo>
                  <a:pt x="60" y="11"/>
                </a:lnTo>
                <a:lnTo>
                  <a:pt x="58" y="14"/>
                </a:lnTo>
                <a:lnTo>
                  <a:pt x="2" y="152"/>
                </a:lnTo>
                <a:lnTo>
                  <a:pt x="2" y="153"/>
                </a:lnTo>
                <a:lnTo>
                  <a:pt x="2" y="153"/>
                </a:lnTo>
                <a:lnTo>
                  <a:pt x="1" y="154"/>
                </a:lnTo>
                <a:lnTo>
                  <a:pt x="1" y="155"/>
                </a:lnTo>
                <a:lnTo>
                  <a:pt x="1" y="158"/>
                </a:lnTo>
                <a:lnTo>
                  <a:pt x="1" y="160"/>
                </a:lnTo>
                <a:lnTo>
                  <a:pt x="0" y="160"/>
                </a:lnTo>
                <a:lnTo>
                  <a:pt x="0" y="161"/>
                </a:lnTo>
                <a:lnTo>
                  <a:pt x="1" y="167"/>
                </a:lnTo>
                <a:lnTo>
                  <a:pt x="3" y="173"/>
                </a:lnTo>
                <a:lnTo>
                  <a:pt x="3" y="173"/>
                </a:lnTo>
                <a:lnTo>
                  <a:pt x="3" y="173"/>
                </a:lnTo>
                <a:lnTo>
                  <a:pt x="3" y="173"/>
                </a:lnTo>
                <a:lnTo>
                  <a:pt x="3" y="174"/>
                </a:lnTo>
                <a:lnTo>
                  <a:pt x="5" y="175"/>
                </a:lnTo>
                <a:lnTo>
                  <a:pt x="6" y="176"/>
                </a:lnTo>
                <a:lnTo>
                  <a:pt x="6" y="176"/>
                </a:lnTo>
                <a:lnTo>
                  <a:pt x="7" y="176"/>
                </a:lnTo>
                <a:lnTo>
                  <a:pt x="7" y="176"/>
                </a:lnTo>
                <a:lnTo>
                  <a:pt x="7" y="178"/>
                </a:lnTo>
                <a:lnTo>
                  <a:pt x="8" y="179"/>
                </a:lnTo>
                <a:lnTo>
                  <a:pt x="9" y="180"/>
                </a:lnTo>
                <a:lnTo>
                  <a:pt x="10" y="180"/>
                </a:lnTo>
                <a:lnTo>
                  <a:pt x="10" y="181"/>
                </a:lnTo>
                <a:lnTo>
                  <a:pt x="11" y="182"/>
                </a:lnTo>
                <a:lnTo>
                  <a:pt x="13" y="182"/>
                </a:lnTo>
                <a:lnTo>
                  <a:pt x="13" y="182"/>
                </a:lnTo>
                <a:lnTo>
                  <a:pt x="14" y="183"/>
                </a:lnTo>
                <a:lnTo>
                  <a:pt x="17" y="184"/>
                </a:lnTo>
                <a:lnTo>
                  <a:pt x="18" y="185"/>
                </a:lnTo>
                <a:lnTo>
                  <a:pt x="19" y="185"/>
                </a:lnTo>
                <a:lnTo>
                  <a:pt x="19" y="185"/>
                </a:lnTo>
                <a:lnTo>
                  <a:pt x="21" y="185"/>
                </a:lnTo>
                <a:lnTo>
                  <a:pt x="22" y="185"/>
                </a:lnTo>
                <a:lnTo>
                  <a:pt x="170" y="201"/>
                </a:lnTo>
                <a:lnTo>
                  <a:pt x="171" y="201"/>
                </a:lnTo>
                <a:lnTo>
                  <a:pt x="172" y="201"/>
                </a:lnTo>
                <a:lnTo>
                  <a:pt x="177" y="200"/>
                </a:lnTo>
                <a:lnTo>
                  <a:pt x="181" y="199"/>
                </a:lnTo>
                <a:lnTo>
                  <a:pt x="186" y="196"/>
                </a:lnTo>
                <a:lnTo>
                  <a:pt x="189" y="194"/>
                </a:lnTo>
                <a:lnTo>
                  <a:pt x="191" y="191"/>
                </a:lnTo>
                <a:lnTo>
                  <a:pt x="193" y="188"/>
                </a:lnTo>
                <a:lnTo>
                  <a:pt x="196" y="183"/>
                </a:lnTo>
                <a:lnTo>
                  <a:pt x="197" y="179"/>
                </a:lnTo>
                <a:lnTo>
                  <a:pt x="197" y="174"/>
                </a:lnTo>
                <a:lnTo>
                  <a:pt x="196" y="169"/>
                </a:lnTo>
                <a:lnTo>
                  <a:pt x="193" y="165"/>
                </a:lnTo>
                <a:lnTo>
                  <a:pt x="191" y="161"/>
                </a:lnTo>
                <a:lnTo>
                  <a:pt x="188" y="158"/>
                </a:lnTo>
                <a:lnTo>
                  <a:pt x="183" y="155"/>
                </a:lnTo>
                <a:lnTo>
                  <a:pt x="180" y="153"/>
                </a:lnTo>
                <a:lnTo>
                  <a:pt x="175" y="152"/>
                </a:lnTo>
                <a:lnTo>
                  <a:pt x="94" y="144"/>
                </a:lnTo>
                <a:lnTo>
                  <a:pt x="111" y="137"/>
                </a:lnTo>
                <a:lnTo>
                  <a:pt x="127" y="130"/>
                </a:lnTo>
                <a:lnTo>
                  <a:pt x="145" y="125"/>
                </a:lnTo>
                <a:lnTo>
                  <a:pt x="162" y="120"/>
                </a:lnTo>
                <a:lnTo>
                  <a:pt x="180" y="118"/>
                </a:lnTo>
                <a:lnTo>
                  <a:pt x="198" y="116"/>
                </a:lnTo>
                <a:lnTo>
                  <a:pt x="217" y="115"/>
                </a:lnTo>
                <a:lnTo>
                  <a:pt x="235" y="116"/>
                </a:lnTo>
                <a:lnTo>
                  <a:pt x="249" y="117"/>
                </a:lnTo>
                <a:lnTo>
                  <a:pt x="262" y="118"/>
                </a:lnTo>
                <a:lnTo>
                  <a:pt x="274" y="121"/>
                </a:lnTo>
                <a:lnTo>
                  <a:pt x="287" y="123"/>
                </a:lnTo>
                <a:lnTo>
                  <a:pt x="299" y="128"/>
                </a:lnTo>
                <a:lnTo>
                  <a:pt x="311" y="132"/>
                </a:lnTo>
                <a:lnTo>
                  <a:pt x="324" y="137"/>
                </a:lnTo>
                <a:lnTo>
                  <a:pt x="335" y="142"/>
                </a:lnTo>
                <a:lnTo>
                  <a:pt x="347" y="149"/>
                </a:lnTo>
                <a:lnTo>
                  <a:pt x="358" y="155"/>
                </a:lnTo>
                <a:lnTo>
                  <a:pt x="368" y="162"/>
                </a:lnTo>
                <a:lnTo>
                  <a:pt x="379" y="170"/>
                </a:lnTo>
                <a:lnTo>
                  <a:pt x="389" y="179"/>
                </a:lnTo>
                <a:lnTo>
                  <a:pt x="399" y="188"/>
                </a:lnTo>
                <a:lnTo>
                  <a:pt x="408" y="196"/>
                </a:lnTo>
                <a:lnTo>
                  <a:pt x="416" y="206"/>
                </a:ln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" name="Freeform 1823">
            <a:extLst>
              <a:ext uri="{FF2B5EF4-FFF2-40B4-BE49-F238E27FC236}">
                <a16:creationId xmlns:a16="http://schemas.microsoft.com/office/drawing/2014/main" id="{D7ABC359-65DF-4348-92F0-C7D259D39595}"/>
              </a:ext>
            </a:extLst>
          </p:cNvPr>
          <p:cNvSpPr>
            <a:spLocks/>
          </p:cNvSpPr>
          <p:nvPr/>
        </p:nvSpPr>
        <p:spPr bwMode="auto">
          <a:xfrm flipV="1">
            <a:off x="5283200" y="4108365"/>
            <a:ext cx="1625600" cy="770022"/>
          </a:xfrm>
          <a:custGeom>
            <a:avLst/>
            <a:gdLst>
              <a:gd name="T0" fmla="*/ 424 w 458"/>
              <a:gd name="T1" fmla="*/ 213 h 215"/>
              <a:gd name="T2" fmla="*/ 438 w 458"/>
              <a:gd name="T3" fmla="*/ 214 h 215"/>
              <a:gd name="T4" fmla="*/ 450 w 458"/>
              <a:gd name="T5" fmla="*/ 210 h 215"/>
              <a:gd name="T6" fmla="*/ 457 w 458"/>
              <a:gd name="T7" fmla="*/ 197 h 215"/>
              <a:gd name="T8" fmla="*/ 457 w 458"/>
              <a:gd name="T9" fmla="*/ 184 h 215"/>
              <a:gd name="T10" fmla="*/ 442 w 458"/>
              <a:gd name="T11" fmla="*/ 163 h 215"/>
              <a:gd name="T12" fmla="*/ 409 w 458"/>
              <a:gd name="T13" fmla="*/ 132 h 215"/>
              <a:gd name="T14" fmla="*/ 370 w 458"/>
              <a:gd name="T15" fmla="*/ 107 h 215"/>
              <a:gd name="T16" fmla="*/ 329 w 458"/>
              <a:gd name="T17" fmla="*/ 87 h 215"/>
              <a:gd name="T18" fmla="*/ 285 w 458"/>
              <a:gd name="T19" fmla="*/ 74 h 215"/>
              <a:gd name="T20" fmla="*/ 239 w 458"/>
              <a:gd name="T21" fmla="*/ 67 h 215"/>
              <a:gd name="T22" fmla="*/ 175 w 458"/>
              <a:gd name="T23" fmla="*/ 69 h 215"/>
              <a:gd name="T24" fmla="*/ 114 w 458"/>
              <a:gd name="T25" fmla="*/ 84 h 215"/>
              <a:gd name="T26" fmla="*/ 102 w 458"/>
              <a:gd name="T27" fmla="*/ 33 h 215"/>
              <a:gd name="T28" fmla="*/ 104 w 458"/>
              <a:gd name="T29" fmla="*/ 19 h 215"/>
              <a:gd name="T30" fmla="*/ 97 w 458"/>
              <a:gd name="T31" fmla="*/ 6 h 215"/>
              <a:gd name="T32" fmla="*/ 84 w 458"/>
              <a:gd name="T33" fmla="*/ 0 h 215"/>
              <a:gd name="T34" fmla="*/ 71 w 458"/>
              <a:gd name="T35" fmla="*/ 2 h 215"/>
              <a:gd name="T36" fmla="*/ 60 w 458"/>
              <a:gd name="T37" fmla="*/ 11 h 215"/>
              <a:gd name="T38" fmla="*/ 2 w 458"/>
              <a:gd name="T39" fmla="*/ 153 h 215"/>
              <a:gd name="T40" fmla="*/ 1 w 458"/>
              <a:gd name="T41" fmla="*/ 155 h 215"/>
              <a:gd name="T42" fmla="*/ 0 w 458"/>
              <a:gd name="T43" fmla="*/ 160 h 215"/>
              <a:gd name="T44" fmla="*/ 3 w 458"/>
              <a:gd name="T45" fmla="*/ 173 h 215"/>
              <a:gd name="T46" fmla="*/ 3 w 458"/>
              <a:gd name="T47" fmla="*/ 173 h 215"/>
              <a:gd name="T48" fmla="*/ 6 w 458"/>
              <a:gd name="T49" fmla="*/ 176 h 215"/>
              <a:gd name="T50" fmla="*/ 7 w 458"/>
              <a:gd name="T51" fmla="*/ 176 h 215"/>
              <a:gd name="T52" fmla="*/ 9 w 458"/>
              <a:gd name="T53" fmla="*/ 180 h 215"/>
              <a:gd name="T54" fmla="*/ 11 w 458"/>
              <a:gd name="T55" fmla="*/ 182 h 215"/>
              <a:gd name="T56" fmla="*/ 14 w 458"/>
              <a:gd name="T57" fmla="*/ 183 h 215"/>
              <a:gd name="T58" fmla="*/ 19 w 458"/>
              <a:gd name="T59" fmla="*/ 185 h 215"/>
              <a:gd name="T60" fmla="*/ 22 w 458"/>
              <a:gd name="T61" fmla="*/ 185 h 215"/>
              <a:gd name="T62" fmla="*/ 172 w 458"/>
              <a:gd name="T63" fmla="*/ 201 h 215"/>
              <a:gd name="T64" fmla="*/ 186 w 458"/>
              <a:gd name="T65" fmla="*/ 196 h 215"/>
              <a:gd name="T66" fmla="*/ 193 w 458"/>
              <a:gd name="T67" fmla="*/ 188 h 215"/>
              <a:gd name="T68" fmla="*/ 197 w 458"/>
              <a:gd name="T69" fmla="*/ 174 h 215"/>
              <a:gd name="T70" fmla="*/ 191 w 458"/>
              <a:gd name="T71" fmla="*/ 161 h 215"/>
              <a:gd name="T72" fmla="*/ 180 w 458"/>
              <a:gd name="T73" fmla="*/ 153 h 215"/>
              <a:gd name="T74" fmla="*/ 111 w 458"/>
              <a:gd name="T75" fmla="*/ 137 h 215"/>
              <a:gd name="T76" fmla="*/ 162 w 458"/>
              <a:gd name="T77" fmla="*/ 120 h 215"/>
              <a:gd name="T78" fmla="*/ 217 w 458"/>
              <a:gd name="T79" fmla="*/ 115 h 215"/>
              <a:gd name="T80" fmla="*/ 262 w 458"/>
              <a:gd name="T81" fmla="*/ 118 h 215"/>
              <a:gd name="T82" fmla="*/ 299 w 458"/>
              <a:gd name="T83" fmla="*/ 128 h 215"/>
              <a:gd name="T84" fmla="*/ 335 w 458"/>
              <a:gd name="T85" fmla="*/ 142 h 215"/>
              <a:gd name="T86" fmla="*/ 368 w 458"/>
              <a:gd name="T87" fmla="*/ 162 h 215"/>
              <a:gd name="T88" fmla="*/ 399 w 458"/>
              <a:gd name="T89" fmla="*/ 188 h 2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458" h="215">
                <a:moveTo>
                  <a:pt x="416" y="206"/>
                </a:moveTo>
                <a:lnTo>
                  <a:pt x="420" y="211"/>
                </a:lnTo>
                <a:lnTo>
                  <a:pt x="424" y="213"/>
                </a:lnTo>
                <a:lnTo>
                  <a:pt x="430" y="214"/>
                </a:lnTo>
                <a:lnTo>
                  <a:pt x="434" y="215"/>
                </a:lnTo>
                <a:lnTo>
                  <a:pt x="438" y="214"/>
                </a:lnTo>
                <a:lnTo>
                  <a:pt x="443" y="214"/>
                </a:lnTo>
                <a:lnTo>
                  <a:pt x="446" y="212"/>
                </a:lnTo>
                <a:lnTo>
                  <a:pt x="450" y="210"/>
                </a:lnTo>
                <a:lnTo>
                  <a:pt x="453" y="206"/>
                </a:lnTo>
                <a:lnTo>
                  <a:pt x="456" y="202"/>
                </a:lnTo>
                <a:lnTo>
                  <a:pt x="457" y="197"/>
                </a:lnTo>
                <a:lnTo>
                  <a:pt x="458" y="193"/>
                </a:lnTo>
                <a:lnTo>
                  <a:pt x="458" y="189"/>
                </a:lnTo>
                <a:lnTo>
                  <a:pt x="457" y="184"/>
                </a:lnTo>
                <a:lnTo>
                  <a:pt x="455" y="180"/>
                </a:lnTo>
                <a:lnTo>
                  <a:pt x="453" y="175"/>
                </a:lnTo>
                <a:lnTo>
                  <a:pt x="442" y="163"/>
                </a:lnTo>
                <a:lnTo>
                  <a:pt x="432" y="152"/>
                </a:lnTo>
                <a:lnTo>
                  <a:pt x="420" y="142"/>
                </a:lnTo>
                <a:lnTo>
                  <a:pt x="409" y="132"/>
                </a:lnTo>
                <a:lnTo>
                  <a:pt x="397" y="123"/>
                </a:lnTo>
                <a:lnTo>
                  <a:pt x="383" y="115"/>
                </a:lnTo>
                <a:lnTo>
                  <a:pt x="370" y="107"/>
                </a:lnTo>
                <a:lnTo>
                  <a:pt x="357" y="100"/>
                </a:lnTo>
                <a:lnTo>
                  <a:pt x="344" y="94"/>
                </a:lnTo>
                <a:lnTo>
                  <a:pt x="329" y="87"/>
                </a:lnTo>
                <a:lnTo>
                  <a:pt x="315" y="83"/>
                </a:lnTo>
                <a:lnTo>
                  <a:pt x="299" y="78"/>
                </a:lnTo>
                <a:lnTo>
                  <a:pt x="285" y="74"/>
                </a:lnTo>
                <a:lnTo>
                  <a:pt x="270" y="72"/>
                </a:lnTo>
                <a:lnTo>
                  <a:pt x="254" y="69"/>
                </a:lnTo>
                <a:lnTo>
                  <a:pt x="239" y="67"/>
                </a:lnTo>
                <a:lnTo>
                  <a:pt x="217" y="67"/>
                </a:lnTo>
                <a:lnTo>
                  <a:pt x="196" y="67"/>
                </a:lnTo>
                <a:lnTo>
                  <a:pt x="175" y="69"/>
                </a:lnTo>
                <a:lnTo>
                  <a:pt x="154" y="74"/>
                </a:lnTo>
                <a:lnTo>
                  <a:pt x="134" y="78"/>
                </a:lnTo>
                <a:lnTo>
                  <a:pt x="114" y="84"/>
                </a:lnTo>
                <a:lnTo>
                  <a:pt x="94" y="91"/>
                </a:lnTo>
                <a:lnTo>
                  <a:pt x="75" y="100"/>
                </a:lnTo>
                <a:lnTo>
                  <a:pt x="102" y="33"/>
                </a:lnTo>
                <a:lnTo>
                  <a:pt x="104" y="28"/>
                </a:lnTo>
                <a:lnTo>
                  <a:pt x="104" y="23"/>
                </a:lnTo>
                <a:lnTo>
                  <a:pt x="104" y="19"/>
                </a:lnTo>
                <a:lnTo>
                  <a:pt x="102" y="14"/>
                </a:lnTo>
                <a:lnTo>
                  <a:pt x="99" y="11"/>
                </a:lnTo>
                <a:lnTo>
                  <a:pt x="97" y="6"/>
                </a:lnTo>
                <a:lnTo>
                  <a:pt x="93" y="4"/>
                </a:lnTo>
                <a:lnTo>
                  <a:pt x="88" y="2"/>
                </a:lnTo>
                <a:lnTo>
                  <a:pt x="84" y="0"/>
                </a:lnTo>
                <a:lnTo>
                  <a:pt x="80" y="0"/>
                </a:lnTo>
                <a:lnTo>
                  <a:pt x="75" y="1"/>
                </a:lnTo>
                <a:lnTo>
                  <a:pt x="71" y="2"/>
                </a:lnTo>
                <a:lnTo>
                  <a:pt x="66" y="4"/>
                </a:lnTo>
                <a:lnTo>
                  <a:pt x="63" y="6"/>
                </a:lnTo>
                <a:lnTo>
                  <a:pt x="60" y="11"/>
                </a:lnTo>
                <a:lnTo>
                  <a:pt x="58" y="14"/>
                </a:lnTo>
                <a:lnTo>
                  <a:pt x="2" y="152"/>
                </a:lnTo>
                <a:lnTo>
                  <a:pt x="2" y="153"/>
                </a:lnTo>
                <a:lnTo>
                  <a:pt x="2" y="153"/>
                </a:lnTo>
                <a:lnTo>
                  <a:pt x="1" y="154"/>
                </a:lnTo>
                <a:lnTo>
                  <a:pt x="1" y="155"/>
                </a:lnTo>
                <a:lnTo>
                  <a:pt x="1" y="158"/>
                </a:lnTo>
                <a:lnTo>
                  <a:pt x="1" y="160"/>
                </a:lnTo>
                <a:lnTo>
                  <a:pt x="0" y="160"/>
                </a:lnTo>
                <a:lnTo>
                  <a:pt x="0" y="161"/>
                </a:lnTo>
                <a:lnTo>
                  <a:pt x="1" y="167"/>
                </a:lnTo>
                <a:lnTo>
                  <a:pt x="3" y="173"/>
                </a:lnTo>
                <a:lnTo>
                  <a:pt x="3" y="173"/>
                </a:lnTo>
                <a:lnTo>
                  <a:pt x="3" y="173"/>
                </a:lnTo>
                <a:lnTo>
                  <a:pt x="3" y="173"/>
                </a:lnTo>
                <a:lnTo>
                  <a:pt x="3" y="174"/>
                </a:lnTo>
                <a:lnTo>
                  <a:pt x="5" y="175"/>
                </a:lnTo>
                <a:lnTo>
                  <a:pt x="6" y="176"/>
                </a:lnTo>
                <a:lnTo>
                  <a:pt x="6" y="176"/>
                </a:lnTo>
                <a:lnTo>
                  <a:pt x="7" y="176"/>
                </a:lnTo>
                <a:lnTo>
                  <a:pt x="7" y="176"/>
                </a:lnTo>
                <a:lnTo>
                  <a:pt x="7" y="178"/>
                </a:lnTo>
                <a:lnTo>
                  <a:pt x="8" y="179"/>
                </a:lnTo>
                <a:lnTo>
                  <a:pt x="9" y="180"/>
                </a:lnTo>
                <a:lnTo>
                  <a:pt x="10" y="180"/>
                </a:lnTo>
                <a:lnTo>
                  <a:pt x="10" y="181"/>
                </a:lnTo>
                <a:lnTo>
                  <a:pt x="11" y="182"/>
                </a:lnTo>
                <a:lnTo>
                  <a:pt x="13" y="182"/>
                </a:lnTo>
                <a:lnTo>
                  <a:pt x="13" y="182"/>
                </a:lnTo>
                <a:lnTo>
                  <a:pt x="14" y="183"/>
                </a:lnTo>
                <a:lnTo>
                  <a:pt x="17" y="184"/>
                </a:lnTo>
                <a:lnTo>
                  <a:pt x="18" y="185"/>
                </a:lnTo>
                <a:lnTo>
                  <a:pt x="19" y="185"/>
                </a:lnTo>
                <a:lnTo>
                  <a:pt x="19" y="185"/>
                </a:lnTo>
                <a:lnTo>
                  <a:pt x="21" y="185"/>
                </a:lnTo>
                <a:lnTo>
                  <a:pt x="22" y="185"/>
                </a:lnTo>
                <a:lnTo>
                  <a:pt x="170" y="201"/>
                </a:lnTo>
                <a:lnTo>
                  <a:pt x="171" y="201"/>
                </a:lnTo>
                <a:lnTo>
                  <a:pt x="172" y="201"/>
                </a:lnTo>
                <a:lnTo>
                  <a:pt x="177" y="200"/>
                </a:lnTo>
                <a:lnTo>
                  <a:pt x="181" y="199"/>
                </a:lnTo>
                <a:lnTo>
                  <a:pt x="186" y="196"/>
                </a:lnTo>
                <a:lnTo>
                  <a:pt x="189" y="194"/>
                </a:lnTo>
                <a:lnTo>
                  <a:pt x="191" y="191"/>
                </a:lnTo>
                <a:lnTo>
                  <a:pt x="193" y="188"/>
                </a:lnTo>
                <a:lnTo>
                  <a:pt x="196" y="183"/>
                </a:lnTo>
                <a:lnTo>
                  <a:pt x="197" y="179"/>
                </a:lnTo>
                <a:lnTo>
                  <a:pt x="197" y="174"/>
                </a:lnTo>
                <a:lnTo>
                  <a:pt x="196" y="169"/>
                </a:lnTo>
                <a:lnTo>
                  <a:pt x="193" y="165"/>
                </a:lnTo>
                <a:lnTo>
                  <a:pt x="191" y="161"/>
                </a:lnTo>
                <a:lnTo>
                  <a:pt x="188" y="158"/>
                </a:lnTo>
                <a:lnTo>
                  <a:pt x="183" y="155"/>
                </a:lnTo>
                <a:lnTo>
                  <a:pt x="180" y="153"/>
                </a:lnTo>
                <a:lnTo>
                  <a:pt x="175" y="152"/>
                </a:lnTo>
                <a:lnTo>
                  <a:pt x="94" y="144"/>
                </a:lnTo>
                <a:lnTo>
                  <a:pt x="111" y="137"/>
                </a:lnTo>
                <a:lnTo>
                  <a:pt x="127" y="130"/>
                </a:lnTo>
                <a:lnTo>
                  <a:pt x="145" y="125"/>
                </a:lnTo>
                <a:lnTo>
                  <a:pt x="162" y="120"/>
                </a:lnTo>
                <a:lnTo>
                  <a:pt x="180" y="118"/>
                </a:lnTo>
                <a:lnTo>
                  <a:pt x="198" y="116"/>
                </a:lnTo>
                <a:lnTo>
                  <a:pt x="217" y="115"/>
                </a:lnTo>
                <a:lnTo>
                  <a:pt x="235" y="116"/>
                </a:lnTo>
                <a:lnTo>
                  <a:pt x="249" y="117"/>
                </a:lnTo>
                <a:lnTo>
                  <a:pt x="262" y="118"/>
                </a:lnTo>
                <a:lnTo>
                  <a:pt x="274" y="121"/>
                </a:lnTo>
                <a:lnTo>
                  <a:pt x="287" y="123"/>
                </a:lnTo>
                <a:lnTo>
                  <a:pt x="299" y="128"/>
                </a:lnTo>
                <a:lnTo>
                  <a:pt x="311" y="132"/>
                </a:lnTo>
                <a:lnTo>
                  <a:pt x="324" y="137"/>
                </a:lnTo>
                <a:lnTo>
                  <a:pt x="335" y="142"/>
                </a:lnTo>
                <a:lnTo>
                  <a:pt x="347" y="149"/>
                </a:lnTo>
                <a:lnTo>
                  <a:pt x="358" y="155"/>
                </a:lnTo>
                <a:lnTo>
                  <a:pt x="368" y="162"/>
                </a:lnTo>
                <a:lnTo>
                  <a:pt x="379" y="170"/>
                </a:lnTo>
                <a:lnTo>
                  <a:pt x="389" y="179"/>
                </a:lnTo>
                <a:lnTo>
                  <a:pt x="399" y="188"/>
                </a:lnTo>
                <a:lnTo>
                  <a:pt x="408" y="196"/>
                </a:lnTo>
                <a:lnTo>
                  <a:pt x="416" y="206"/>
                </a:ln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44B70BF3-8B18-4B92-85C7-6A12DAA61DFE}"/>
              </a:ext>
            </a:extLst>
          </p:cNvPr>
          <p:cNvSpPr/>
          <p:nvPr/>
        </p:nvSpPr>
        <p:spPr>
          <a:xfrm>
            <a:off x="4267078" y="1438865"/>
            <a:ext cx="3657844" cy="27699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cs typeface="Segoe UI" panose="020B0502040204020203" pitchFamily="34" charset="0"/>
              </a:rPr>
              <a:t>MONITORING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1F0EF9F0-902D-444A-99E5-6DEC6A57FED6}"/>
              </a:ext>
            </a:extLst>
          </p:cNvPr>
          <p:cNvSpPr/>
          <p:nvPr/>
        </p:nvSpPr>
        <p:spPr>
          <a:xfrm>
            <a:off x="4267078" y="4992477"/>
            <a:ext cx="3657844" cy="27699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cs typeface="Segoe UI" panose="020B0502040204020203" pitchFamily="34" charset="0"/>
              </a:rPr>
              <a:t>CONTROLLING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162D12D5-FF7B-442A-959A-0C06D77BDFB9}"/>
              </a:ext>
            </a:extLst>
          </p:cNvPr>
          <p:cNvSpPr txBox="1"/>
          <p:nvPr/>
        </p:nvSpPr>
        <p:spPr>
          <a:xfrm>
            <a:off x="838200" y="5604907"/>
            <a:ext cx="10515600" cy="430887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, sed do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eiusmod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tempo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incididun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u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labore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 et dolore magna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aliqua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. U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enim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 ad minim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veniam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quis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nostrud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 exercitation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ullamco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laboris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 nisi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u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aliquip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 ex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ea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commodo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consequa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. </a:t>
            </a:r>
          </a:p>
        </p:txBody>
      </p:sp>
      <p:sp>
        <p:nvSpPr>
          <p:cNvPr id="57" name="Rectangle 5">
            <a:extLst>
              <a:ext uri="{FF2B5EF4-FFF2-40B4-BE49-F238E27FC236}">
                <a16:creationId xmlns:a16="http://schemas.microsoft.com/office/drawing/2014/main" id="{7A51015F-AB84-4D12-8F0A-1E50C7CAEAE4}"/>
              </a:ext>
            </a:extLst>
          </p:cNvPr>
          <p:cNvSpPr/>
          <p:nvPr/>
        </p:nvSpPr>
        <p:spPr>
          <a:xfrm>
            <a:off x="-145143" y="632389"/>
            <a:ext cx="12482286" cy="6089086"/>
          </a:xfrm>
          <a:custGeom>
            <a:avLst/>
            <a:gdLst>
              <a:gd name="connsiteX0" fmla="*/ 0 w 11582400"/>
              <a:gd name="connsiteY0" fmla="*/ 0 h 6073775"/>
              <a:gd name="connsiteX1" fmla="*/ 11582400 w 11582400"/>
              <a:gd name="connsiteY1" fmla="*/ 0 h 6073775"/>
              <a:gd name="connsiteX2" fmla="*/ 11582400 w 11582400"/>
              <a:gd name="connsiteY2" fmla="*/ 6073775 h 6073775"/>
              <a:gd name="connsiteX3" fmla="*/ 0 w 11582400"/>
              <a:gd name="connsiteY3" fmla="*/ 6073775 h 6073775"/>
              <a:gd name="connsiteX4" fmla="*/ 0 w 11582400"/>
              <a:gd name="connsiteY4" fmla="*/ 0 h 6073775"/>
              <a:gd name="connsiteX0" fmla="*/ 0 w 11582400"/>
              <a:gd name="connsiteY0" fmla="*/ 6765 h 6080540"/>
              <a:gd name="connsiteX1" fmla="*/ 8309361 w 11582400"/>
              <a:gd name="connsiteY1" fmla="*/ 0 h 6080540"/>
              <a:gd name="connsiteX2" fmla="*/ 11582400 w 11582400"/>
              <a:gd name="connsiteY2" fmla="*/ 6765 h 6080540"/>
              <a:gd name="connsiteX3" fmla="*/ 11582400 w 11582400"/>
              <a:gd name="connsiteY3" fmla="*/ 6080540 h 6080540"/>
              <a:gd name="connsiteX4" fmla="*/ 0 w 11582400"/>
              <a:gd name="connsiteY4" fmla="*/ 6080540 h 6080540"/>
              <a:gd name="connsiteX5" fmla="*/ 0 w 11582400"/>
              <a:gd name="connsiteY5" fmla="*/ 6765 h 6080540"/>
              <a:gd name="connsiteX0" fmla="*/ 0 w 11582400"/>
              <a:gd name="connsiteY0" fmla="*/ 15311 h 6089086"/>
              <a:gd name="connsiteX1" fmla="*/ 3267342 w 11582400"/>
              <a:gd name="connsiteY1" fmla="*/ 0 h 6089086"/>
              <a:gd name="connsiteX2" fmla="*/ 8309361 w 11582400"/>
              <a:gd name="connsiteY2" fmla="*/ 8546 h 6089086"/>
              <a:gd name="connsiteX3" fmla="*/ 11582400 w 11582400"/>
              <a:gd name="connsiteY3" fmla="*/ 15311 h 6089086"/>
              <a:gd name="connsiteX4" fmla="*/ 11582400 w 11582400"/>
              <a:gd name="connsiteY4" fmla="*/ 6089086 h 6089086"/>
              <a:gd name="connsiteX5" fmla="*/ 0 w 11582400"/>
              <a:gd name="connsiteY5" fmla="*/ 6089086 h 6089086"/>
              <a:gd name="connsiteX6" fmla="*/ 0 w 11582400"/>
              <a:gd name="connsiteY6" fmla="*/ 15311 h 6089086"/>
              <a:gd name="connsiteX0" fmla="*/ 0 w 11582400"/>
              <a:gd name="connsiteY0" fmla="*/ 23857 h 6097632"/>
              <a:gd name="connsiteX1" fmla="*/ 3267342 w 11582400"/>
              <a:gd name="connsiteY1" fmla="*/ 8546 h 6097632"/>
              <a:gd name="connsiteX2" fmla="*/ 5386699 w 11582400"/>
              <a:gd name="connsiteY2" fmla="*/ 0 h 6097632"/>
              <a:gd name="connsiteX3" fmla="*/ 8309361 w 11582400"/>
              <a:gd name="connsiteY3" fmla="*/ 17092 h 6097632"/>
              <a:gd name="connsiteX4" fmla="*/ 11582400 w 11582400"/>
              <a:gd name="connsiteY4" fmla="*/ 23857 h 6097632"/>
              <a:gd name="connsiteX5" fmla="*/ 11582400 w 11582400"/>
              <a:gd name="connsiteY5" fmla="*/ 6097632 h 6097632"/>
              <a:gd name="connsiteX6" fmla="*/ 0 w 11582400"/>
              <a:gd name="connsiteY6" fmla="*/ 6097632 h 6097632"/>
              <a:gd name="connsiteX7" fmla="*/ 0 w 11582400"/>
              <a:gd name="connsiteY7" fmla="*/ 23857 h 6097632"/>
              <a:gd name="connsiteX0" fmla="*/ 5386699 w 11582400"/>
              <a:gd name="connsiteY0" fmla="*/ 0 h 6097632"/>
              <a:gd name="connsiteX1" fmla="*/ 8309361 w 11582400"/>
              <a:gd name="connsiteY1" fmla="*/ 17092 h 6097632"/>
              <a:gd name="connsiteX2" fmla="*/ 11582400 w 11582400"/>
              <a:gd name="connsiteY2" fmla="*/ 23857 h 6097632"/>
              <a:gd name="connsiteX3" fmla="*/ 11582400 w 11582400"/>
              <a:gd name="connsiteY3" fmla="*/ 6097632 h 6097632"/>
              <a:gd name="connsiteX4" fmla="*/ 0 w 11582400"/>
              <a:gd name="connsiteY4" fmla="*/ 6097632 h 6097632"/>
              <a:gd name="connsiteX5" fmla="*/ 0 w 11582400"/>
              <a:gd name="connsiteY5" fmla="*/ 23857 h 6097632"/>
              <a:gd name="connsiteX6" fmla="*/ 3267342 w 11582400"/>
              <a:gd name="connsiteY6" fmla="*/ 8546 h 6097632"/>
              <a:gd name="connsiteX7" fmla="*/ 5478139 w 11582400"/>
              <a:gd name="connsiteY7" fmla="*/ 91440 h 6097632"/>
              <a:gd name="connsiteX0" fmla="*/ 8309361 w 11582400"/>
              <a:gd name="connsiteY0" fmla="*/ 8616 h 6089156"/>
              <a:gd name="connsiteX1" fmla="*/ 11582400 w 11582400"/>
              <a:gd name="connsiteY1" fmla="*/ 15381 h 6089156"/>
              <a:gd name="connsiteX2" fmla="*/ 11582400 w 11582400"/>
              <a:gd name="connsiteY2" fmla="*/ 6089156 h 6089156"/>
              <a:gd name="connsiteX3" fmla="*/ 0 w 11582400"/>
              <a:gd name="connsiteY3" fmla="*/ 6089156 h 6089156"/>
              <a:gd name="connsiteX4" fmla="*/ 0 w 11582400"/>
              <a:gd name="connsiteY4" fmla="*/ 15381 h 6089156"/>
              <a:gd name="connsiteX5" fmla="*/ 3267342 w 11582400"/>
              <a:gd name="connsiteY5" fmla="*/ 70 h 6089156"/>
              <a:gd name="connsiteX6" fmla="*/ 5478139 w 11582400"/>
              <a:gd name="connsiteY6" fmla="*/ 82964 h 6089156"/>
              <a:gd name="connsiteX0" fmla="*/ 8309361 w 11582400"/>
              <a:gd name="connsiteY0" fmla="*/ 8546 h 6089086"/>
              <a:gd name="connsiteX1" fmla="*/ 11582400 w 11582400"/>
              <a:gd name="connsiteY1" fmla="*/ 15311 h 6089086"/>
              <a:gd name="connsiteX2" fmla="*/ 11582400 w 11582400"/>
              <a:gd name="connsiteY2" fmla="*/ 6089086 h 6089086"/>
              <a:gd name="connsiteX3" fmla="*/ 0 w 11582400"/>
              <a:gd name="connsiteY3" fmla="*/ 6089086 h 6089086"/>
              <a:gd name="connsiteX4" fmla="*/ 0 w 11582400"/>
              <a:gd name="connsiteY4" fmla="*/ 15311 h 6089086"/>
              <a:gd name="connsiteX5" fmla="*/ 3267342 w 11582400"/>
              <a:gd name="connsiteY5" fmla="*/ 0 h 60890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582400" h="6089086">
                <a:moveTo>
                  <a:pt x="8309361" y="8546"/>
                </a:moveTo>
                <a:lnTo>
                  <a:pt x="11582400" y="15311"/>
                </a:lnTo>
                <a:lnTo>
                  <a:pt x="11582400" y="6089086"/>
                </a:lnTo>
                <a:lnTo>
                  <a:pt x="0" y="6089086"/>
                </a:lnTo>
                <a:lnTo>
                  <a:pt x="0" y="15311"/>
                </a:lnTo>
                <a:lnTo>
                  <a:pt x="3267342" y="0"/>
                </a:lnTo>
              </a:path>
            </a:pathLst>
          </a:custGeom>
          <a:noFill/>
          <a:ln w="6350">
            <a:solidFill>
              <a:schemeClr val="accent2"/>
            </a:solidFill>
            <a:headEnd type="oval"/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000092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C094B0E2-52F1-47A9-B0CD-64F57F5DE476}"/>
              </a:ext>
            </a:extLst>
          </p:cNvPr>
          <p:cNvSpPr txBox="1"/>
          <p:nvPr/>
        </p:nvSpPr>
        <p:spPr>
          <a:xfrm>
            <a:off x="190500" y="241300"/>
            <a:ext cx="11811000" cy="8002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3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rPr>
              <a:t>Project Management</a:t>
            </a:r>
          </a:p>
          <a:p>
            <a:pPr algn="ctr"/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rPr>
              <a:t>Template Pack</a:t>
            </a:r>
            <a:endParaRPr lang="id-ID" sz="20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ABA8D8A-3C74-47D4-9A47-6C113AB1DC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65069E-FEA1-427A-A048-CF60E8D1D63F}" type="datetime1">
              <a:rPr lang="en-US" sz="1000" smtClean="0"/>
              <a:t>5/8/2019</a:t>
            </a:fld>
            <a:endParaRPr lang="en-US" sz="10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28A193C-DE62-45B9-BC6C-339547738B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EFC3F0-C584-483B-B1FE-52BE924CB19D}" type="slidenum">
              <a:rPr lang="en-US" sz="1000" smtClean="0"/>
              <a:t>5</a:t>
            </a:fld>
            <a:endParaRPr lang="en-US" sz="1000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4C18FD08-7BC6-4507-8C43-3AC6FADC559E}"/>
              </a:ext>
            </a:extLst>
          </p:cNvPr>
          <p:cNvGrpSpPr/>
          <p:nvPr/>
        </p:nvGrpSpPr>
        <p:grpSpPr>
          <a:xfrm>
            <a:off x="470583" y="3661061"/>
            <a:ext cx="1816328" cy="2307771"/>
            <a:chOff x="1311104" y="3086101"/>
            <a:chExt cx="1816328" cy="2307771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75FDB1BC-FE9D-4202-AA69-31D123998CE2}"/>
                </a:ext>
              </a:extLst>
            </p:cNvPr>
            <p:cNvGrpSpPr/>
            <p:nvPr/>
          </p:nvGrpSpPr>
          <p:grpSpPr>
            <a:xfrm>
              <a:off x="1311104" y="3086101"/>
              <a:ext cx="1816328" cy="2307771"/>
              <a:chOff x="1320572" y="2685143"/>
              <a:chExt cx="1816328" cy="2307771"/>
            </a:xfrm>
            <a:solidFill>
              <a:schemeClr val="accent2"/>
            </a:solidFill>
          </p:grpSpPr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3947AA51-D913-4A3D-84A4-ABEA2D67FB43}"/>
                  </a:ext>
                </a:extLst>
              </p:cNvPr>
              <p:cNvSpPr/>
              <p:nvPr/>
            </p:nvSpPr>
            <p:spPr>
              <a:xfrm>
                <a:off x="1320573" y="3164114"/>
                <a:ext cx="1816327" cy="182880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" name="Arrow: Chevron 7">
                <a:extLst>
                  <a:ext uri="{FF2B5EF4-FFF2-40B4-BE49-F238E27FC236}">
                    <a16:creationId xmlns:a16="http://schemas.microsoft.com/office/drawing/2014/main" id="{83684F37-1CF3-4EA3-B251-5A5655D9DBBB}"/>
                  </a:ext>
                </a:extLst>
              </p:cNvPr>
              <p:cNvSpPr/>
              <p:nvPr/>
            </p:nvSpPr>
            <p:spPr>
              <a:xfrm rot="5400000">
                <a:off x="1749764" y="2255951"/>
                <a:ext cx="957943" cy="1816328"/>
              </a:xfrm>
              <a:prstGeom prst="chevron">
                <a:avLst>
                  <a:gd name="adj" fmla="val 2713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13C8E8D1-65B4-4227-9A2F-682D4CE9C6C3}"/>
                </a:ext>
              </a:extLst>
            </p:cNvPr>
            <p:cNvGrpSpPr/>
            <p:nvPr/>
          </p:nvGrpSpPr>
          <p:grpSpPr>
            <a:xfrm>
              <a:off x="1428634" y="3879856"/>
              <a:ext cx="1581266" cy="1199231"/>
              <a:chOff x="1428634" y="3950614"/>
              <a:chExt cx="1581266" cy="1199231"/>
            </a:xfrm>
          </p:grpSpPr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6E0D76BF-D972-44AE-8B7B-5EED0F71D9F4}"/>
                  </a:ext>
                </a:extLst>
              </p:cNvPr>
              <p:cNvSpPr txBox="1"/>
              <p:nvPr/>
            </p:nvSpPr>
            <p:spPr>
              <a:xfrm>
                <a:off x="1428634" y="4288071"/>
                <a:ext cx="1581266" cy="861774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 anchor="t">
                <a:spAutoFit/>
              </a:bodyPr>
              <a:lstStyle/>
              <a:p>
                <a:pPr algn="ctr"/>
                <a:r>
                  <a:rPr lang="en-US" sz="1400" dirty="0">
                    <a:solidFill>
                      <a:schemeClr val="bg1"/>
                    </a:solidFill>
                    <a:cs typeface="Calibri" panose="020F0502020204030204" pitchFamily="34" charset="0"/>
                  </a:rPr>
                  <a:t>Lorem ipsum dolor sit </a:t>
                </a:r>
                <a:r>
                  <a:rPr lang="en-US" sz="1400" dirty="0" err="1">
                    <a:solidFill>
                      <a:schemeClr val="bg1"/>
                    </a:solidFill>
                    <a:cs typeface="Calibri" panose="020F0502020204030204" pitchFamily="34" charset="0"/>
                  </a:rPr>
                  <a:t>amet</a:t>
                </a:r>
                <a:r>
                  <a:rPr lang="en-US" sz="1400" dirty="0">
                    <a:solidFill>
                      <a:schemeClr val="bg1"/>
                    </a:solidFill>
                    <a:cs typeface="Calibri" panose="020F0502020204030204" pitchFamily="34" charset="0"/>
                  </a:rPr>
                  <a:t>, </a:t>
                </a:r>
                <a:r>
                  <a:rPr lang="en-US" sz="1400" dirty="0" err="1">
                    <a:solidFill>
                      <a:schemeClr val="bg1"/>
                    </a:solidFill>
                    <a:cs typeface="Calibri" panose="020F0502020204030204" pitchFamily="34" charset="0"/>
                  </a:rPr>
                  <a:t>consectetur</a:t>
                </a:r>
                <a:r>
                  <a:rPr lang="en-US" sz="1400" dirty="0">
                    <a:solidFill>
                      <a:schemeClr val="bg1"/>
                    </a:solidFill>
                    <a:cs typeface="Calibri" panose="020F0502020204030204" pitchFamily="34" charset="0"/>
                  </a:rPr>
                  <a:t> </a:t>
                </a:r>
                <a:r>
                  <a:rPr lang="en-US" sz="1400" dirty="0" err="1">
                    <a:solidFill>
                      <a:schemeClr val="bg1"/>
                    </a:solidFill>
                    <a:cs typeface="Calibri" panose="020F0502020204030204" pitchFamily="34" charset="0"/>
                  </a:rPr>
                  <a:t>adipiscing</a:t>
                </a:r>
                <a:r>
                  <a:rPr lang="en-US" sz="1400" dirty="0">
                    <a:solidFill>
                      <a:schemeClr val="bg1"/>
                    </a:solidFill>
                    <a:cs typeface="Calibri" panose="020F0502020204030204" pitchFamily="34" charset="0"/>
                  </a:rPr>
                  <a:t> </a:t>
                </a:r>
                <a:r>
                  <a:rPr lang="en-US" sz="1400" dirty="0" err="1">
                    <a:solidFill>
                      <a:schemeClr val="bg1"/>
                    </a:solidFill>
                    <a:cs typeface="Calibri" panose="020F0502020204030204" pitchFamily="34" charset="0"/>
                  </a:rPr>
                  <a:t>elit</a:t>
                </a:r>
                <a:r>
                  <a:rPr lang="en-US" sz="1400" dirty="0">
                    <a:solidFill>
                      <a:schemeClr val="bg1"/>
                    </a:solidFill>
                    <a:cs typeface="Calibri" panose="020F0502020204030204" pitchFamily="34" charset="0"/>
                  </a:rPr>
                  <a:t>. </a:t>
                </a:r>
              </a:p>
            </p:txBody>
          </p:sp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6DC9B17D-4855-4A4C-8712-0E2E26E573B8}"/>
                  </a:ext>
                </a:extLst>
              </p:cNvPr>
              <p:cNvSpPr txBox="1"/>
              <p:nvPr/>
            </p:nvSpPr>
            <p:spPr>
              <a:xfrm>
                <a:off x="1428634" y="3950614"/>
                <a:ext cx="1581266" cy="215444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 anchor="t">
                <a:spAutoFit/>
              </a:bodyPr>
              <a:lstStyle/>
              <a:p>
                <a:pPr algn="ctr"/>
                <a:r>
                  <a:rPr lang="en-US" sz="1400" b="1" dirty="0">
                    <a:solidFill>
                      <a:schemeClr val="bg1"/>
                    </a:solidFill>
                    <a:cs typeface="Calibri" panose="020F0502020204030204" pitchFamily="34" charset="0"/>
                  </a:rPr>
                  <a:t>LOREM IPSUM</a:t>
                </a:r>
              </a:p>
            </p:txBody>
          </p:sp>
        </p:grp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B64545BA-1DD2-45CD-81FC-818EFA93DCAF}"/>
              </a:ext>
            </a:extLst>
          </p:cNvPr>
          <p:cNvGrpSpPr/>
          <p:nvPr/>
        </p:nvGrpSpPr>
        <p:grpSpPr>
          <a:xfrm>
            <a:off x="2829209" y="3432461"/>
            <a:ext cx="1816328" cy="2536371"/>
            <a:chOff x="3895592" y="2857501"/>
            <a:chExt cx="1816328" cy="2536371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E0A6A62D-DE69-4EA0-A1EB-8883400004CE}"/>
                </a:ext>
              </a:extLst>
            </p:cNvPr>
            <p:cNvGrpSpPr/>
            <p:nvPr/>
          </p:nvGrpSpPr>
          <p:grpSpPr>
            <a:xfrm>
              <a:off x="3895592" y="2857501"/>
              <a:ext cx="1816328" cy="2536371"/>
              <a:chOff x="3479572" y="2685143"/>
              <a:chExt cx="1816328" cy="2536371"/>
            </a:xfrm>
            <a:solidFill>
              <a:schemeClr val="bg1">
                <a:lumMod val="85000"/>
              </a:schemeClr>
            </a:solidFill>
          </p:grpSpPr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44C4C87C-5BBD-427A-BDC9-422BC96A7562}"/>
                  </a:ext>
                </a:extLst>
              </p:cNvPr>
              <p:cNvSpPr/>
              <p:nvPr/>
            </p:nvSpPr>
            <p:spPr>
              <a:xfrm>
                <a:off x="3479573" y="3164114"/>
                <a:ext cx="1816327" cy="205740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8" name="Arrow: Chevron 17">
                <a:extLst>
                  <a:ext uri="{FF2B5EF4-FFF2-40B4-BE49-F238E27FC236}">
                    <a16:creationId xmlns:a16="http://schemas.microsoft.com/office/drawing/2014/main" id="{5EBCEDEC-049A-4404-AC64-FF51151AC3C3}"/>
                  </a:ext>
                </a:extLst>
              </p:cNvPr>
              <p:cNvSpPr/>
              <p:nvPr/>
            </p:nvSpPr>
            <p:spPr>
              <a:xfrm rot="5400000">
                <a:off x="3908764" y="2255951"/>
                <a:ext cx="957943" cy="1816328"/>
              </a:xfrm>
              <a:prstGeom prst="chevron">
                <a:avLst>
                  <a:gd name="adj" fmla="val 2713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4C157DE3-0BE3-49F3-950C-4B7EFE6D8914}"/>
                </a:ext>
              </a:extLst>
            </p:cNvPr>
            <p:cNvGrpSpPr/>
            <p:nvPr/>
          </p:nvGrpSpPr>
          <p:grpSpPr>
            <a:xfrm>
              <a:off x="4013122" y="3526071"/>
              <a:ext cx="1581266" cy="1199231"/>
              <a:chOff x="1428634" y="3950614"/>
              <a:chExt cx="1581266" cy="1199231"/>
            </a:xfrm>
          </p:grpSpPr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5DD137B1-19EC-47E8-9910-B9ED48C4039B}"/>
                  </a:ext>
                </a:extLst>
              </p:cNvPr>
              <p:cNvSpPr txBox="1"/>
              <p:nvPr/>
            </p:nvSpPr>
            <p:spPr>
              <a:xfrm>
                <a:off x="1428634" y="4288071"/>
                <a:ext cx="1581266" cy="861774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 anchor="t">
                <a:spAutoFit/>
              </a:bodyPr>
              <a:lstStyle/>
              <a:p>
                <a:pPr algn="ctr"/>
                <a:r>
                  <a:rPr lang="en-US" sz="1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Calibri" panose="020F0502020204030204" pitchFamily="34" charset="0"/>
                  </a:rPr>
                  <a:t>Lorem ipsum dolor sit </a:t>
                </a:r>
                <a:r>
                  <a:rPr lang="en-US" sz="1400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Calibri" panose="020F0502020204030204" pitchFamily="34" charset="0"/>
                  </a:rPr>
                  <a:t>amet</a:t>
                </a:r>
                <a:r>
                  <a:rPr lang="en-US" sz="1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Calibri" panose="020F0502020204030204" pitchFamily="34" charset="0"/>
                  </a:rPr>
                  <a:t>, </a:t>
                </a:r>
                <a:r>
                  <a:rPr lang="en-US" sz="1400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Calibri" panose="020F0502020204030204" pitchFamily="34" charset="0"/>
                  </a:rPr>
                  <a:t>consectetur</a:t>
                </a:r>
                <a:r>
                  <a:rPr lang="en-US" sz="1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Calibri" panose="020F0502020204030204" pitchFamily="34" charset="0"/>
                  </a:rPr>
                  <a:t> </a:t>
                </a:r>
                <a:r>
                  <a:rPr lang="en-US" sz="1400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Calibri" panose="020F0502020204030204" pitchFamily="34" charset="0"/>
                  </a:rPr>
                  <a:t>adipiscing</a:t>
                </a:r>
                <a:r>
                  <a:rPr lang="en-US" sz="1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Calibri" panose="020F0502020204030204" pitchFamily="34" charset="0"/>
                  </a:rPr>
                  <a:t> </a:t>
                </a:r>
                <a:r>
                  <a:rPr lang="en-US" sz="1400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Calibri" panose="020F0502020204030204" pitchFamily="34" charset="0"/>
                  </a:rPr>
                  <a:t>elit</a:t>
                </a:r>
                <a:r>
                  <a:rPr lang="en-US" sz="1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Calibri" panose="020F0502020204030204" pitchFamily="34" charset="0"/>
                  </a:rPr>
                  <a:t>. </a:t>
                </a:r>
              </a:p>
            </p:txBody>
          </p:sp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F745FB54-F43D-4EC1-8928-1CD316A41F16}"/>
                  </a:ext>
                </a:extLst>
              </p:cNvPr>
              <p:cNvSpPr txBox="1"/>
              <p:nvPr/>
            </p:nvSpPr>
            <p:spPr>
              <a:xfrm>
                <a:off x="1428634" y="3950614"/>
                <a:ext cx="1581266" cy="215444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 anchor="t">
                <a:spAutoFit/>
              </a:bodyPr>
              <a:lstStyle/>
              <a:p>
                <a:pPr algn="ctr"/>
                <a:r>
                  <a:rPr lang="en-US" sz="14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Calibri" panose="020F0502020204030204" pitchFamily="34" charset="0"/>
                  </a:rPr>
                  <a:t>LOREM IPSUM</a:t>
                </a:r>
              </a:p>
            </p:txBody>
          </p:sp>
        </p:grp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17AA99A8-91EB-495B-903C-8BE6FE0A7264}"/>
              </a:ext>
            </a:extLst>
          </p:cNvPr>
          <p:cNvGrpSpPr/>
          <p:nvPr/>
        </p:nvGrpSpPr>
        <p:grpSpPr>
          <a:xfrm>
            <a:off x="5187835" y="2746661"/>
            <a:ext cx="1816328" cy="3222171"/>
            <a:chOff x="6480080" y="2171701"/>
            <a:chExt cx="1816328" cy="3222171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871FD42B-6A65-4EA8-88F3-0CF8DD6F63A1}"/>
                </a:ext>
              </a:extLst>
            </p:cNvPr>
            <p:cNvGrpSpPr/>
            <p:nvPr/>
          </p:nvGrpSpPr>
          <p:grpSpPr>
            <a:xfrm>
              <a:off x="6480080" y="2171701"/>
              <a:ext cx="1816328" cy="3222171"/>
              <a:chOff x="5638570" y="2685143"/>
              <a:chExt cx="1816328" cy="3222171"/>
            </a:xfrm>
            <a:solidFill>
              <a:schemeClr val="accent2"/>
            </a:solidFill>
          </p:grpSpPr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708AD306-1141-422A-9C52-F830312368DE}"/>
                  </a:ext>
                </a:extLst>
              </p:cNvPr>
              <p:cNvSpPr/>
              <p:nvPr/>
            </p:nvSpPr>
            <p:spPr>
              <a:xfrm>
                <a:off x="5638571" y="3164114"/>
                <a:ext cx="1816327" cy="274320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" name="Arrow: Chevron 19">
                <a:extLst>
                  <a:ext uri="{FF2B5EF4-FFF2-40B4-BE49-F238E27FC236}">
                    <a16:creationId xmlns:a16="http://schemas.microsoft.com/office/drawing/2014/main" id="{26466763-01D8-4551-94C9-2A5290ECB53F}"/>
                  </a:ext>
                </a:extLst>
              </p:cNvPr>
              <p:cNvSpPr/>
              <p:nvPr/>
            </p:nvSpPr>
            <p:spPr>
              <a:xfrm rot="5400000">
                <a:off x="6067762" y="2255951"/>
                <a:ext cx="957943" cy="1816328"/>
              </a:xfrm>
              <a:prstGeom prst="chevron">
                <a:avLst>
                  <a:gd name="adj" fmla="val 2713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751A0C19-3218-4E43-983D-2183277038E5}"/>
                </a:ext>
              </a:extLst>
            </p:cNvPr>
            <p:cNvGrpSpPr/>
            <p:nvPr/>
          </p:nvGrpSpPr>
          <p:grpSpPr>
            <a:xfrm>
              <a:off x="6597610" y="3183171"/>
              <a:ext cx="1581266" cy="1199231"/>
              <a:chOff x="1428634" y="3950614"/>
              <a:chExt cx="1581266" cy="1199231"/>
            </a:xfrm>
          </p:grpSpPr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769347E1-EAEF-4A2A-853A-2727E6DFD543}"/>
                  </a:ext>
                </a:extLst>
              </p:cNvPr>
              <p:cNvSpPr txBox="1"/>
              <p:nvPr/>
            </p:nvSpPr>
            <p:spPr>
              <a:xfrm>
                <a:off x="1428634" y="4288071"/>
                <a:ext cx="1581266" cy="861774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 anchor="t">
                <a:spAutoFit/>
              </a:bodyPr>
              <a:lstStyle/>
              <a:p>
                <a:pPr algn="ctr"/>
                <a:r>
                  <a:rPr lang="en-US" sz="1400" dirty="0">
                    <a:solidFill>
                      <a:schemeClr val="bg1"/>
                    </a:solidFill>
                    <a:cs typeface="Calibri" panose="020F0502020204030204" pitchFamily="34" charset="0"/>
                  </a:rPr>
                  <a:t>Lorem ipsum dolor sit </a:t>
                </a:r>
                <a:r>
                  <a:rPr lang="en-US" sz="1400" dirty="0" err="1">
                    <a:solidFill>
                      <a:schemeClr val="bg1"/>
                    </a:solidFill>
                    <a:cs typeface="Calibri" panose="020F0502020204030204" pitchFamily="34" charset="0"/>
                  </a:rPr>
                  <a:t>amet</a:t>
                </a:r>
                <a:r>
                  <a:rPr lang="en-US" sz="1400" dirty="0">
                    <a:solidFill>
                      <a:schemeClr val="bg1"/>
                    </a:solidFill>
                    <a:cs typeface="Calibri" panose="020F0502020204030204" pitchFamily="34" charset="0"/>
                  </a:rPr>
                  <a:t>, </a:t>
                </a:r>
                <a:r>
                  <a:rPr lang="en-US" sz="1400" dirty="0" err="1">
                    <a:solidFill>
                      <a:schemeClr val="bg1"/>
                    </a:solidFill>
                    <a:cs typeface="Calibri" panose="020F0502020204030204" pitchFamily="34" charset="0"/>
                  </a:rPr>
                  <a:t>consectetur</a:t>
                </a:r>
                <a:r>
                  <a:rPr lang="en-US" sz="1400" dirty="0">
                    <a:solidFill>
                      <a:schemeClr val="bg1"/>
                    </a:solidFill>
                    <a:cs typeface="Calibri" panose="020F0502020204030204" pitchFamily="34" charset="0"/>
                  </a:rPr>
                  <a:t> </a:t>
                </a:r>
                <a:r>
                  <a:rPr lang="en-US" sz="1400" dirty="0" err="1">
                    <a:solidFill>
                      <a:schemeClr val="bg1"/>
                    </a:solidFill>
                    <a:cs typeface="Calibri" panose="020F0502020204030204" pitchFamily="34" charset="0"/>
                  </a:rPr>
                  <a:t>adipiscing</a:t>
                </a:r>
                <a:r>
                  <a:rPr lang="en-US" sz="1400" dirty="0">
                    <a:solidFill>
                      <a:schemeClr val="bg1"/>
                    </a:solidFill>
                    <a:cs typeface="Calibri" panose="020F0502020204030204" pitchFamily="34" charset="0"/>
                  </a:rPr>
                  <a:t> </a:t>
                </a:r>
                <a:r>
                  <a:rPr lang="en-US" sz="1400" dirty="0" err="1">
                    <a:solidFill>
                      <a:schemeClr val="bg1"/>
                    </a:solidFill>
                    <a:cs typeface="Calibri" panose="020F0502020204030204" pitchFamily="34" charset="0"/>
                  </a:rPr>
                  <a:t>elit</a:t>
                </a:r>
                <a:r>
                  <a:rPr lang="en-US" sz="1400" dirty="0">
                    <a:solidFill>
                      <a:schemeClr val="bg1"/>
                    </a:solidFill>
                    <a:cs typeface="Calibri" panose="020F0502020204030204" pitchFamily="34" charset="0"/>
                  </a:rPr>
                  <a:t>. </a:t>
                </a:r>
              </a:p>
            </p:txBody>
          </p:sp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673CB4F2-5628-4FF2-8DB2-7D751DC4B840}"/>
                  </a:ext>
                </a:extLst>
              </p:cNvPr>
              <p:cNvSpPr txBox="1"/>
              <p:nvPr/>
            </p:nvSpPr>
            <p:spPr>
              <a:xfrm>
                <a:off x="1428634" y="3950614"/>
                <a:ext cx="1581266" cy="215444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 anchor="t">
                <a:spAutoFit/>
              </a:bodyPr>
              <a:lstStyle/>
              <a:p>
                <a:pPr algn="ctr"/>
                <a:r>
                  <a:rPr lang="en-US" sz="1400" b="1" dirty="0">
                    <a:solidFill>
                      <a:schemeClr val="bg1"/>
                    </a:solidFill>
                    <a:cs typeface="Calibri" panose="020F0502020204030204" pitchFamily="34" charset="0"/>
                  </a:rPr>
                  <a:t>LOREM IPSUM</a:t>
                </a:r>
              </a:p>
            </p:txBody>
          </p:sp>
        </p:grp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9EEF38BD-AFC5-473E-8A9D-C7FB9AB27ED4}"/>
              </a:ext>
            </a:extLst>
          </p:cNvPr>
          <p:cNvGrpSpPr/>
          <p:nvPr/>
        </p:nvGrpSpPr>
        <p:grpSpPr>
          <a:xfrm>
            <a:off x="7546461" y="2289461"/>
            <a:ext cx="1816328" cy="3679371"/>
            <a:chOff x="9064568" y="1714501"/>
            <a:chExt cx="1816328" cy="3679371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65DFC204-E5C3-446D-9991-8B055507AF81}"/>
                </a:ext>
              </a:extLst>
            </p:cNvPr>
            <p:cNvGrpSpPr/>
            <p:nvPr/>
          </p:nvGrpSpPr>
          <p:grpSpPr>
            <a:xfrm>
              <a:off x="9064568" y="1714501"/>
              <a:ext cx="1816328" cy="3679371"/>
              <a:chOff x="7797567" y="2685143"/>
              <a:chExt cx="1816328" cy="3679371"/>
            </a:xfrm>
            <a:solidFill>
              <a:schemeClr val="bg1">
                <a:lumMod val="85000"/>
              </a:schemeClr>
            </a:solidFill>
          </p:grpSpPr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55659CB3-9A0D-4666-AB03-B921FFB2634F}"/>
                  </a:ext>
                </a:extLst>
              </p:cNvPr>
              <p:cNvSpPr/>
              <p:nvPr/>
            </p:nvSpPr>
            <p:spPr>
              <a:xfrm>
                <a:off x="7797568" y="3164114"/>
                <a:ext cx="1816327" cy="320040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" name="Arrow: Chevron 21">
                <a:extLst>
                  <a:ext uri="{FF2B5EF4-FFF2-40B4-BE49-F238E27FC236}">
                    <a16:creationId xmlns:a16="http://schemas.microsoft.com/office/drawing/2014/main" id="{DBB87511-D21A-44F2-832E-BE2946FF5841}"/>
                  </a:ext>
                </a:extLst>
              </p:cNvPr>
              <p:cNvSpPr/>
              <p:nvPr/>
            </p:nvSpPr>
            <p:spPr>
              <a:xfrm rot="5400000">
                <a:off x="8226759" y="2255951"/>
                <a:ext cx="957943" cy="1816328"/>
              </a:xfrm>
              <a:prstGeom prst="chevron">
                <a:avLst>
                  <a:gd name="adj" fmla="val 2713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8BF10FCF-70FF-4770-8D59-23502D7E9445}"/>
                </a:ext>
              </a:extLst>
            </p:cNvPr>
            <p:cNvGrpSpPr/>
            <p:nvPr/>
          </p:nvGrpSpPr>
          <p:grpSpPr>
            <a:xfrm>
              <a:off x="9182099" y="2954571"/>
              <a:ext cx="1581266" cy="1199231"/>
              <a:chOff x="1428634" y="3950614"/>
              <a:chExt cx="1581266" cy="1199231"/>
            </a:xfrm>
          </p:grpSpPr>
          <p:sp>
            <p:nvSpPr>
              <p:cNvPr id="41" name="TextBox 40">
                <a:extLst>
                  <a:ext uri="{FF2B5EF4-FFF2-40B4-BE49-F238E27FC236}">
                    <a16:creationId xmlns:a16="http://schemas.microsoft.com/office/drawing/2014/main" id="{9851BD90-E000-4673-9DBB-C2256C594767}"/>
                  </a:ext>
                </a:extLst>
              </p:cNvPr>
              <p:cNvSpPr txBox="1"/>
              <p:nvPr/>
            </p:nvSpPr>
            <p:spPr>
              <a:xfrm>
                <a:off x="1428634" y="4288071"/>
                <a:ext cx="1581266" cy="861774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 anchor="t">
                <a:spAutoFit/>
              </a:bodyPr>
              <a:lstStyle/>
              <a:p>
                <a:pPr algn="ctr"/>
                <a:r>
                  <a:rPr lang="en-US" sz="1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Calibri" panose="020F0502020204030204" pitchFamily="34" charset="0"/>
                  </a:rPr>
                  <a:t>Lorem ipsum dolor sit </a:t>
                </a:r>
                <a:r>
                  <a:rPr lang="en-US" sz="1400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Calibri" panose="020F0502020204030204" pitchFamily="34" charset="0"/>
                  </a:rPr>
                  <a:t>amet</a:t>
                </a:r>
                <a:r>
                  <a:rPr lang="en-US" sz="1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Calibri" panose="020F0502020204030204" pitchFamily="34" charset="0"/>
                  </a:rPr>
                  <a:t>, </a:t>
                </a:r>
                <a:r>
                  <a:rPr lang="en-US" sz="1400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Calibri" panose="020F0502020204030204" pitchFamily="34" charset="0"/>
                  </a:rPr>
                  <a:t>consectetur</a:t>
                </a:r>
                <a:r>
                  <a:rPr lang="en-US" sz="1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Calibri" panose="020F0502020204030204" pitchFamily="34" charset="0"/>
                  </a:rPr>
                  <a:t> </a:t>
                </a:r>
                <a:r>
                  <a:rPr lang="en-US" sz="1400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Calibri" panose="020F0502020204030204" pitchFamily="34" charset="0"/>
                  </a:rPr>
                  <a:t>adipiscing</a:t>
                </a:r>
                <a:r>
                  <a:rPr lang="en-US" sz="1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Calibri" panose="020F0502020204030204" pitchFamily="34" charset="0"/>
                  </a:rPr>
                  <a:t> </a:t>
                </a:r>
                <a:r>
                  <a:rPr lang="en-US" sz="1400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Calibri" panose="020F0502020204030204" pitchFamily="34" charset="0"/>
                  </a:rPr>
                  <a:t>elit</a:t>
                </a:r>
                <a:r>
                  <a:rPr lang="en-US" sz="1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Calibri" panose="020F0502020204030204" pitchFamily="34" charset="0"/>
                  </a:rPr>
                  <a:t>. </a:t>
                </a:r>
              </a:p>
            </p:txBody>
          </p:sp>
          <p:sp>
            <p:nvSpPr>
              <p:cNvPr id="42" name="TextBox 41">
                <a:extLst>
                  <a:ext uri="{FF2B5EF4-FFF2-40B4-BE49-F238E27FC236}">
                    <a16:creationId xmlns:a16="http://schemas.microsoft.com/office/drawing/2014/main" id="{DEDA36AA-6582-42FD-B705-752ED1CF329E}"/>
                  </a:ext>
                </a:extLst>
              </p:cNvPr>
              <p:cNvSpPr txBox="1"/>
              <p:nvPr/>
            </p:nvSpPr>
            <p:spPr>
              <a:xfrm>
                <a:off x="1428634" y="3950614"/>
                <a:ext cx="1581266" cy="215444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 anchor="t">
                <a:spAutoFit/>
              </a:bodyPr>
              <a:lstStyle/>
              <a:p>
                <a:pPr algn="ctr"/>
                <a:r>
                  <a:rPr lang="en-US" sz="14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Calibri" panose="020F0502020204030204" pitchFamily="34" charset="0"/>
                  </a:rPr>
                  <a:t>LOREM IPSUM</a:t>
                </a:r>
              </a:p>
            </p:txBody>
          </p:sp>
        </p:grp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5BC8A431-3D6E-44D6-8E1D-A12BBACF6D4C}"/>
              </a:ext>
            </a:extLst>
          </p:cNvPr>
          <p:cNvGrpSpPr/>
          <p:nvPr/>
        </p:nvGrpSpPr>
        <p:grpSpPr>
          <a:xfrm>
            <a:off x="9905089" y="1832261"/>
            <a:ext cx="1816328" cy="4136571"/>
            <a:chOff x="11353800" y="1257301"/>
            <a:chExt cx="1816328" cy="4136571"/>
          </a:xfrm>
        </p:grpSpPr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34C928D4-FADA-4009-A505-025E9EAB8CB0}"/>
                </a:ext>
              </a:extLst>
            </p:cNvPr>
            <p:cNvGrpSpPr/>
            <p:nvPr/>
          </p:nvGrpSpPr>
          <p:grpSpPr>
            <a:xfrm>
              <a:off x="11353800" y="1257301"/>
              <a:ext cx="1816328" cy="4136571"/>
              <a:chOff x="7797567" y="2685143"/>
              <a:chExt cx="1816328" cy="4136571"/>
            </a:xfrm>
            <a:solidFill>
              <a:schemeClr val="accent2"/>
            </a:solidFill>
          </p:grpSpPr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F0013331-4308-40CC-860B-75B837E985A0}"/>
                  </a:ext>
                </a:extLst>
              </p:cNvPr>
              <p:cNvSpPr/>
              <p:nvPr/>
            </p:nvSpPr>
            <p:spPr>
              <a:xfrm>
                <a:off x="7797568" y="3164114"/>
                <a:ext cx="1816327" cy="365760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7" name="Arrow: Chevron 46">
                <a:extLst>
                  <a:ext uri="{FF2B5EF4-FFF2-40B4-BE49-F238E27FC236}">
                    <a16:creationId xmlns:a16="http://schemas.microsoft.com/office/drawing/2014/main" id="{D64FF33F-0E14-45C3-B056-B6ACECAF4E73}"/>
                  </a:ext>
                </a:extLst>
              </p:cNvPr>
              <p:cNvSpPr/>
              <p:nvPr/>
            </p:nvSpPr>
            <p:spPr>
              <a:xfrm rot="5400000">
                <a:off x="8226759" y="2255951"/>
                <a:ext cx="957943" cy="1816328"/>
              </a:xfrm>
              <a:prstGeom prst="chevron">
                <a:avLst>
                  <a:gd name="adj" fmla="val 2713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B7CED55B-7C33-4831-85DF-B934902F6902}"/>
                </a:ext>
              </a:extLst>
            </p:cNvPr>
            <p:cNvGrpSpPr/>
            <p:nvPr/>
          </p:nvGrpSpPr>
          <p:grpSpPr>
            <a:xfrm>
              <a:off x="11471331" y="2725971"/>
              <a:ext cx="1581266" cy="1199231"/>
              <a:chOff x="1428634" y="3950614"/>
              <a:chExt cx="1581266" cy="1199231"/>
            </a:xfrm>
          </p:grpSpPr>
          <p:sp>
            <p:nvSpPr>
              <p:cNvPr id="51" name="TextBox 50">
                <a:extLst>
                  <a:ext uri="{FF2B5EF4-FFF2-40B4-BE49-F238E27FC236}">
                    <a16:creationId xmlns:a16="http://schemas.microsoft.com/office/drawing/2014/main" id="{4970EAFD-6563-4C13-AD3F-6781292E0026}"/>
                  </a:ext>
                </a:extLst>
              </p:cNvPr>
              <p:cNvSpPr txBox="1"/>
              <p:nvPr/>
            </p:nvSpPr>
            <p:spPr>
              <a:xfrm>
                <a:off x="1428634" y="4288071"/>
                <a:ext cx="1581266" cy="861774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 anchor="t">
                <a:spAutoFit/>
              </a:bodyPr>
              <a:lstStyle/>
              <a:p>
                <a:pPr algn="ctr"/>
                <a:r>
                  <a:rPr lang="en-US" sz="1400" dirty="0">
                    <a:solidFill>
                      <a:schemeClr val="bg1"/>
                    </a:solidFill>
                    <a:cs typeface="Calibri" panose="020F0502020204030204" pitchFamily="34" charset="0"/>
                  </a:rPr>
                  <a:t>Lorem ipsum dolor sit </a:t>
                </a:r>
                <a:r>
                  <a:rPr lang="en-US" sz="1400" dirty="0" err="1">
                    <a:solidFill>
                      <a:schemeClr val="bg1"/>
                    </a:solidFill>
                    <a:cs typeface="Calibri" panose="020F0502020204030204" pitchFamily="34" charset="0"/>
                  </a:rPr>
                  <a:t>amet</a:t>
                </a:r>
                <a:r>
                  <a:rPr lang="en-US" sz="1400" dirty="0">
                    <a:solidFill>
                      <a:schemeClr val="bg1"/>
                    </a:solidFill>
                    <a:cs typeface="Calibri" panose="020F0502020204030204" pitchFamily="34" charset="0"/>
                  </a:rPr>
                  <a:t>, </a:t>
                </a:r>
                <a:r>
                  <a:rPr lang="en-US" sz="1400" dirty="0" err="1">
                    <a:solidFill>
                      <a:schemeClr val="bg1"/>
                    </a:solidFill>
                    <a:cs typeface="Calibri" panose="020F0502020204030204" pitchFamily="34" charset="0"/>
                  </a:rPr>
                  <a:t>consectetur</a:t>
                </a:r>
                <a:r>
                  <a:rPr lang="en-US" sz="1400" dirty="0">
                    <a:solidFill>
                      <a:schemeClr val="bg1"/>
                    </a:solidFill>
                    <a:cs typeface="Calibri" panose="020F0502020204030204" pitchFamily="34" charset="0"/>
                  </a:rPr>
                  <a:t> </a:t>
                </a:r>
                <a:r>
                  <a:rPr lang="en-US" sz="1400" dirty="0" err="1">
                    <a:solidFill>
                      <a:schemeClr val="bg1"/>
                    </a:solidFill>
                    <a:cs typeface="Calibri" panose="020F0502020204030204" pitchFamily="34" charset="0"/>
                  </a:rPr>
                  <a:t>adipiscing</a:t>
                </a:r>
                <a:r>
                  <a:rPr lang="en-US" sz="1400" dirty="0">
                    <a:solidFill>
                      <a:schemeClr val="bg1"/>
                    </a:solidFill>
                    <a:cs typeface="Calibri" panose="020F0502020204030204" pitchFamily="34" charset="0"/>
                  </a:rPr>
                  <a:t> </a:t>
                </a:r>
                <a:r>
                  <a:rPr lang="en-US" sz="1400" dirty="0" err="1">
                    <a:solidFill>
                      <a:schemeClr val="bg1"/>
                    </a:solidFill>
                    <a:cs typeface="Calibri" panose="020F0502020204030204" pitchFamily="34" charset="0"/>
                  </a:rPr>
                  <a:t>elit</a:t>
                </a:r>
                <a:r>
                  <a:rPr lang="en-US" sz="1400" dirty="0">
                    <a:solidFill>
                      <a:schemeClr val="bg1"/>
                    </a:solidFill>
                    <a:cs typeface="Calibri" panose="020F0502020204030204" pitchFamily="34" charset="0"/>
                  </a:rPr>
                  <a:t>. </a:t>
                </a:r>
              </a:p>
            </p:txBody>
          </p:sp>
          <p:sp>
            <p:nvSpPr>
              <p:cNvPr id="52" name="TextBox 51">
                <a:extLst>
                  <a:ext uri="{FF2B5EF4-FFF2-40B4-BE49-F238E27FC236}">
                    <a16:creationId xmlns:a16="http://schemas.microsoft.com/office/drawing/2014/main" id="{9F7FC37A-2ADE-4F05-BB69-04B5058340FE}"/>
                  </a:ext>
                </a:extLst>
              </p:cNvPr>
              <p:cNvSpPr txBox="1"/>
              <p:nvPr/>
            </p:nvSpPr>
            <p:spPr>
              <a:xfrm>
                <a:off x="1428634" y="3950614"/>
                <a:ext cx="1581266" cy="215444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 anchor="t">
                <a:spAutoFit/>
              </a:bodyPr>
              <a:lstStyle/>
              <a:p>
                <a:pPr algn="ctr"/>
                <a:r>
                  <a:rPr lang="en-US" sz="1400" b="1" dirty="0">
                    <a:solidFill>
                      <a:schemeClr val="bg1"/>
                    </a:solidFill>
                    <a:cs typeface="Calibri" panose="020F0502020204030204" pitchFamily="34" charset="0"/>
                  </a:rPr>
                  <a:t>LOREM IPSUM</a:t>
                </a:r>
              </a:p>
            </p:txBody>
          </p:sp>
        </p:grp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1521F2F9-303B-4FFA-945A-635E91430CAF}"/>
              </a:ext>
            </a:extLst>
          </p:cNvPr>
          <p:cNvGrpSpPr/>
          <p:nvPr/>
        </p:nvGrpSpPr>
        <p:grpSpPr>
          <a:xfrm>
            <a:off x="1192807" y="3287065"/>
            <a:ext cx="371880" cy="373996"/>
            <a:chOff x="6450013" y="5349875"/>
            <a:chExt cx="279399" cy="280988"/>
          </a:xfrm>
          <a:solidFill>
            <a:schemeClr val="accent2"/>
          </a:solidFill>
        </p:grpSpPr>
        <p:sp>
          <p:nvSpPr>
            <p:cNvPr id="54" name="Freeform 3673">
              <a:extLst>
                <a:ext uri="{FF2B5EF4-FFF2-40B4-BE49-F238E27FC236}">
                  <a16:creationId xmlns:a16="http://schemas.microsoft.com/office/drawing/2014/main" id="{DA7902A6-C66F-45E8-B203-DFEF37DDC504}"/>
                </a:ext>
              </a:extLst>
            </p:cNvPr>
            <p:cNvSpPr>
              <a:spLocks/>
            </p:cNvSpPr>
            <p:nvPr/>
          </p:nvSpPr>
          <p:spPr bwMode="auto">
            <a:xfrm>
              <a:off x="6450013" y="5349875"/>
              <a:ext cx="182562" cy="238125"/>
            </a:xfrm>
            <a:custGeom>
              <a:avLst/>
              <a:gdLst>
                <a:gd name="T0" fmla="*/ 379 w 459"/>
                <a:gd name="T1" fmla="*/ 550 h 602"/>
                <a:gd name="T2" fmla="*/ 380 w 459"/>
                <a:gd name="T3" fmla="*/ 519 h 602"/>
                <a:gd name="T4" fmla="*/ 345 w 459"/>
                <a:gd name="T5" fmla="*/ 495 h 602"/>
                <a:gd name="T6" fmla="*/ 397 w 459"/>
                <a:gd name="T7" fmla="*/ 400 h 602"/>
                <a:gd name="T8" fmla="*/ 408 w 459"/>
                <a:gd name="T9" fmla="*/ 395 h 602"/>
                <a:gd name="T10" fmla="*/ 450 w 459"/>
                <a:gd name="T11" fmla="*/ 406 h 602"/>
                <a:gd name="T12" fmla="*/ 412 w 459"/>
                <a:gd name="T13" fmla="*/ 384 h 602"/>
                <a:gd name="T14" fmla="*/ 376 w 459"/>
                <a:gd name="T15" fmla="*/ 370 h 602"/>
                <a:gd name="T16" fmla="*/ 361 w 459"/>
                <a:gd name="T17" fmla="*/ 307 h 602"/>
                <a:gd name="T18" fmla="*/ 379 w 459"/>
                <a:gd name="T19" fmla="*/ 288 h 602"/>
                <a:gd name="T20" fmla="*/ 397 w 459"/>
                <a:gd name="T21" fmla="*/ 252 h 602"/>
                <a:gd name="T22" fmla="*/ 406 w 459"/>
                <a:gd name="T23" fmla="*/ 214 h 602"/>
                <a:gd name="T24" fmla="*/ 415 w 459"/>
                <a:gd name="T25" fmla="*/ 202 h 602"/>
                <a:gd name="T26" fmla="*/ 420 w 459"/>
                <a:gd name="T27" fmla="*/ 183 h 602"/>
                <a:gd name="T28" fmla="*/ 416 w 459"/>
                <a:gd name="T29" fmla="*/ 152 h 602"/>
                <a:gd name="T30" fmla="*/ 412 w 459"/>
                <a:gd name="T31" fmla="*/ 121 h 602"/>
                <a:gd name="T32" fmla="*/ 420 w 459"/>
                <a:gd name="T33" fmla="*/ 78 h 602"/>
                <a:gd name="T34" fmla="*/ 415 w 459"/>
                <a:gd name="T35" fmla="*/ 45 h 602"/>
                <a:gd name="T36" fmla="*/ 403 w 459"/>
                <a:gd name="T37" fmla="*/ 27 h 602"/>
                <a:gd name="T38" fmla="*/ 382 w 459"/>
                <a:gd name="T39" fmla="*/ 15 h 602"/>
                <a:gd name="T40" fmla="*/ 341 w 459"/>
                <a:gd name="T41" fmla="*/ 3 h 602"/>
                <a:gd name="T42" fmla="*/ 291 w 459"/>
                <a:gd name="T43" fmla="*/ 0 h 602"/>
                <a:gd name="T44" fmla="*/ 245 w 459"/>
                <a:gd name="T45" fmla="*/ 9 h 602"/>
                <a:gd name="T46" fmla="*/ 213 w 459"/>
                <a:gd name="T47" fmla="*/ 27 h 602"/>
                <a:gd name="T48" fmla="*/ 201 w 459"/>
                <a:gd name="T49" fmla="*/ 42 h 602"/>
                <a:gd name="T50" fmla="*/ 181 w 459"/>
                <a:gd name="T51" fmla="*/ 44 h 602"/>
                <a:gd name="T52" fmla="*/ 163 w 459"/>
                <a:gd name="T53" fmla="*/ 56 h 602"/>
                <a:gd name="T54" fmla="*/ 155 w 459"/>
                <a:gd name="T55" fmla="*/ 87 h 602"/>
                <a:gd name="T56" fmla="*/ 164 w 459"/>
                <a:gd name="T57" fmla="*/ 138 h 602"/>
                <a:gd name="T58" fmla="*/ 159 w 459"/>
                <a:gd name="T59" fmla="*/ 144 h 602"/>
                <a:gd name="T60" fmla="*/ 150 w 459"/>
                <a:gd name="T61" fmla="*/ 162 h 602"/>
                <a:gd name="T62" fmla="*/ 149 w 459"/>
                <a:gd name="T63" fmla="*/ 184 h 602"/>
                <a:gd name="T64" fmla="*/ 154 w 459"/>
                <a:gd name="T65" fmla="*/ 201 h 602"/>
                <a:gd name="T66" fmla="*/ 163 w 459"/>
                <a:gd name="T67" fmla="*/ 214 h 602"/>
                <a:gd name="T68" fmla="*/ 169 w 459"/>
                <a:gd name="T69" fmla="*/ 237 h 602"/>
                <a:gd name="T70" fmla="*/ 179 w 459"/>
                <a:gd name="T71" fmla="*/ 271 h 602"/>
                <a:gd name="T72" fmla="*/ 203 w 459"/>
                <a:gd name="T73" fmla="*/ 306 h 602"/>
                <a:gd name="T74" fmla="*/ 215 w 459"/>
                <a:gd name="T75" fmla="*/ 364 h 602"/>
                <a:gd name="T76" fmla="*/ 171 w 459"/>
                <a:gd name="T77" fmla="*/ 381 h 602"/>
                <a:gd name="T78" fmla="*/ 106 w 459"/>
                <a:gd name="T79" fmla="*/ 401 h 602"/>
                <a:gd name="T80" fmla="*/ 46 w 459"/>
                <a:gd name="T81" fmla="*/ 428 h 602"/>
                <a:gd name="T82" fmla="*/ 22 w 459"/>
                <a:gd name="T83" fmla="*/ 449 h 602"/>
                <a:gd name="T84" fmla="*/ 10 w 459"/>
                <a:gd name="T85" fmla="*/ 479 h 602"/>
                <a:gd name="T86" fmla="*/ 2 w 459"/>
                <a:gd name="T87" fmla="*/ 540 h 602"/>
                <a:gd name="T88" fmla="*/ 1 w 459"/>
                <a:gd name="T89" fmla="*/ 594 h 602"/>
                <a:gd name="T90" fmla="*/ 11 w 459"/>
                <a:gd name="T91" fmla="*/ 602 h 602"/>
                <a:gd name="T92" fmla="*/ 345 w 459"/>
                <a:gd name="T93" fmla="*/ 589 h 602"/>
                <a:gd name="T94" fmla="*/ 352 w 459"/>
                <a:gd name="T95" fmla="*/ 577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59" h="602">
                  <a:moveTo>
                    <a:pt x="352" y="577"/>
                  </a:moveTo>
                  <a:lnTo>
                    <a:pt x="380" y="560"/>
                  </a:lnTo>
                  <a:lnTo>
                    <a:pt x="379" y="550"/>
                  </a:lnTo>
                  <a:lnTo>
                    <a:pt x="379" y="540"/>
                  </a:lnTo>
                  <a:lnTo>
                    <a:pt x="379" y="530"/>
                  </a:lnTo>
                  <a:lnTo>
                    <a:pt x="380" y="519"/>
                  </a:lnTo>
                  <a:lnTo>
                    <a:pt x="352" y="503"/>
                  </a:lnTo>
                  <a:lnTo>
                    <a:pt x="348" y="499"/>
                  </a:lnTo>
                  <a:lnTo>
                    <a:pt x="345" y="495"/>
                  </a:lnTo>
                  <a:lnTo>
                    <a:pt x="345" y="490"/>
                  </a:lnTo>
                  <a:lnTo>
                    <a:pt x="346" y="486"/>
                  </a:lnTo>
                  <a:lnTo>
                    <a:pt x="397" y="400"/>
                  </a:lnTo>
                  <a:lnTo>
                    <a:pt x="399" y="397"/>
                  </a:lnTo>
                  <a:lnTo>
                    <a:pt x="403" y="395"/>
                  </a:lnTo>
                  <a:lnTo>
                    <a:pt x="408" y="395"/>
                  </a:lnTo>
                  <a:lnTo>
                    <a:pt x="413" y="396"/>
                  </a:lnTo>
                  <a:lnTo>
                    <a:pt x="441" y="413"/>
                  </a:lnTo>
                  <a:lnTo>
                    <a:pt x="450" y="406"/>
                  </a:lnTo>
                  <a:lnTo>
                    <a:pt x="459" y="401"/>
                  </a:lnTo>
                  <a:lnTo>
                    <a:pt x="424" y="388"/>
                  </a:lnTo>
                  <a:lnTo>
                    <a:pt x="412" y="384"/>
                  </a:lnTo>
                  <a:lnTo>
                    <a:pt x="400" y="379"/>
                  </a:lnTo>
                  <a:lnTo>
                    <a:pt x="389" y="375"/>
                  </a:lnTo>
                  <a:lnTo>
                    <a:pt x="376" y="370"/>
                  </a:lnTo>
                  <a:lnTo>
                    <a:pt x="368" y="368"/>
                  </a:lnTo>
                  <a:lnTo>
                    <a:pt x="361" y="364"/>
                  </a:lnTo>
                  <a:lnTo>
                    <a:pt x="361" y="307"/>
                  </a:lnTo>
                  <a:lnTo>
                    <a:pt x="366" y="302"/>
                  </a:lnTo>
                  <a:lnTo>
                    <a:pt x="372" y="297"/>
                  </a:lnTo>
                  <a:lnTo>
                    <a:pt x="379" y="288"/>
                  </a:lnTo>
                  <a:lnTo>
                    <a:pt x="385" y="279"/>
                  </a:lnTo>
                  <a:lnTo>
                    <a:pt x="391" y="266"/>
                  </a:lnTo>
                  <a:lnTo>
                    <a:pt x="397" y="252"/>
                  </a:lnTo>
                  <a:lnTo>
                    <a:pt x="400" y="235"/>
                  </a:lnTo>
                  <a:lnTo>
                    <a:pt x="402" y="216"/>
                  </a:lnTo>
                  <a:lnTo>
                    <a:pt x="406" y="214"/>
                  </a:lnTo>
                  <a:lnTo>
                    <a:pt x="409" y="211"/>
                  </a:lnTo>
                  <a:lnTo>
                    <a:pt x="412" y="207"/>
                  </a:lnTo>
                  <a:lnTo>
                    <a:pt x="415" y="202"/>
                  </a:lnTo>
                  <a:lnTo>
                    <a:pt x="417" y="197"/>
                  </a:lnTo>
                  <a:lnTo>
                    <a:pt x="418" y="191"/>
                  </a:lnTo>
                  <a:lnTo>
                    <a:pt x="420" y="183"/>
                  </a:lnTo>
                  <a:lnTo>
                    <a:pt x="420" y="175"/>
                  </a:lnTo>
                  <a:lnTo>
                    <a:pt x="420" y="164"/>
                  </a:lnTo>
                  <a:lnTo>
                    <a:pt x="416" y="152"/>
                  </a:lnTo>
                  <a:lnTo>
                    <a:pt x="412" y="144"/>
                  </a:lnTo>
                  <a:lnTo>
                    <a:pt x="406" y="137"/>
                  </a:lnTo>
                  <a:lnTo>
                    <a:pt x="412" y="121"/>
                  </a:lnTo>
                  <a:lnTo>
                    <a:pt x="417" y="101"/>
                  </a:lnTo>
                  <a:lnTo>
                    <a:pt x="420" y="89"/>
                  </a:lnTo>
                  <a:lnTo>
                    <a:pt x="420" y="78"/>
                  </a:lnTo>
                  <a:lnTo>
                    <a:pt x="420" y="65"/>
                  </a:lnTo>
                  <a:lnTo>
                    <a:pt x="417" y="53"/>
                  </a:lnTo>
                  <a:lnTo>
                    <a:pt x="415" y="45"/>
                  </a:lnTo>
                  <a:lnTo>
                    <a:pt x="412" y="39"/>
                  </a:lnTo>
                  <a:lnTo>
                    <a:pt x="407" y="34"/>
                  </a:lnTo>
                  <a:lnTo>
                    <a:pt x="403" y="27"/>
                  </a:lnTo>
                  <a:lnTo>
                    <a:pt x="397" y="24"/>
                  </a:lnTo>
                  <a:lnTo>
                    <a:pt x="390" y="18"/>
                  </a:lnTo>
                  <a:lnTo>
                    <a:pt x="382" y="15"/>
                  </a:lnTo>
                  <a:lnTo>
                    <a:pt x="376" y="12"/>
                  </a:lnTo>
                  <a:lnTo>
                    <a:pt x="359" y="7"/>
                  </a:lnTo>
                  <a:lnTo>
                    <a:pt x="341" y="3"/>
                  </a:lnTo>
                  <a:lnTo>
                    <a:pt x="325" y="0"/>
                  </a:lnTo>
                  <a:lnTo>
                    <a:pt x="307" y="0"/>
                  </a:lnTo>
                  <a:lnTo>
                    <a:pt x="291" y="0"/>
                  </a:lnTo>
                  <a:lnTo>
                    <a:pt x="276" y="2"/>
                  </a:lnTo>
                  <a:lnTo>
                    <a:pt x="260" y="6"/>
                  </a:lnTo>
                  <a:lnTo>
                    <a:pt x="245" y="9"/>
                  </a:lnTo>
                  <a:lnTo>
                    <a:pt x="231" y="16"/>
                  </a:lnTo>
                  <a:lnTo>
                    <a:pt x="218" y="22"/>
                  </a:lnTo>
                  <a:lnTo>
                    <a:pt x="213" y="27"/>
                  </a:lnTo>
                  <a:lnTo>
                    <a:pt x="209" y="31"/>
                  </a:lnTo>
                  <a:lnTo>
                    <a:pt x="204" y="36"/>
                  </a:lnTo>
                  <a:lnTo>
                    <a:pt x="201" y="42"/>
                  </a:lnTo>
                  <a:lnTo>
                    <a:pt x="194" y="42"/>
                  </a:lnTo>
                  <a:lnTo>
                    <a:pt x="187" y="43"/>
                  </a:lnTo>
                  <a:lnTo>
                    <a:pt x="181" y="44"/>
                  </a:lnTo>
                  <a:lnTo>
                    <a:pt x="176" y="45"/>
                  </a:lnTo>
                  <a:lnTo>
                    <a:pt x="168" y="51"/>
                  </a:lnTo>
                  <a:lnTo>
                    <a:pt x="163" y="56"/>
                  </a:lnTo>
                  <a:lnTo>
                    <a:pt x="158" y="65"/>
                  </a:lnTo>
                  <a:lnTo>
                    <a:pt x="155" y="75"/>
                  </a:lnTo>
                  <a:lnTo>
                    <a:pt x="155" y="87"/>
                  </a:lnTo>
                  <a:lnTo>
                    <a:pt x="155" y="98"/>
                  </a:lnTo>
                  <a:lnTo>
                    <a:pt x="159" y="120"/>
                  </a:lnTo>
                  <a:lnTo>
                    <a:pt x="164" y="138"/>
                  </a:lnTo>
                  <a:lnTo>
                    <a:pt x="164" y="139"/>
                  </a:lnTo>
                  <a:lnTo>
                    <a:pt x="164" y="139"/>
                  </a:lnTo>
                  <a:lnTo>
                    <a:pt x="159" y="144"/>
                  </a:lnTo>
                  <a:lnTo>
                    <a:pt x="154" y="151"/>
                  </a:lnTo>
                  <a:lnTo>
                    <a:pt x="151" y="156"/>
                  </a:lnTo>
                  <a:lnTo>
                    <a:pt x="150" y="162"/>
                  </a:lnTo>
                  <a:lnTo>
                    <a:pt x="149" y="170"/>
                  </a:lnTo>
                  <a:lnTo>
                    <a:pt x="149" y="176"/>
                  </a:lnTo>
                  <a:lnTo>
                    <a:pt x="149" y="184"/>
                  </a:lnTo>
                  <a:lnTo>
                    <a:pt x="150" y="191"/>
                  </a:lnTo>
                  <a:lnTo>
                    <a:pt x="151" y="196"/>
                  </a:lnTo>
                  <a:lnTo>
                    <a:pt x="154" y="201"/>
                  </a:lnTo>
                  <a:lnTo>
                    <a:pt x="156" y="206"/>
                  </a:lnTo>
                  <a:lnTo>
                    <a:pt x="159" y="210"/>
                  </a:lnTo>
                  <a:lnTo>
                    <a:pt x="163" y="214"/>
                  </a:lnTo>
                  <a:lnTo>
                    <a:pt x="167" y="216"/>
                  </a:lnTo>
                  <a:lnTo>
                    <a:pt x="168" y="227"/>
                  </a:lnTo>
                  <a:lnTo>
                    <a:pt x="169" y="237"/>
                  </a:lnTo>
                  <a:lnTo>
                    <a:pt x="172" y="246"/>
                  </a:lnTo>
                  <a:lnTo>
                    <a:pt x="174" y="255"/>
                  </a:lnTo>
                  <a:lnTo>
                    <a:pt x="179" y="271"/>
                  </a:lnTo>
                  <a:lnTo>
                    <a:pt x="187" y="286"/>
                  </a:lnTo>
                  <a:lnTo>
                    <a:pt x="195" y="297"/>
                  </a:lnTo>
                  <a:lnTo>
                    <a:pt x="203" y="306"/>
                  </a:lnTo>
                  <a:lnTo>
                    <a:pt x="210" y="314"/>
                  </a:lnTo>
                  <a:lnTo>
                    <a:pt x="215" y="319"/>
                  </a:lnTo>
                  <a:lnTo>
                    <a:pt x="215" y="364"/>
                  </a:lnTo>
                  <a:lnTo>
                    <a:pt x="201" y="369"/>
                  </a:lnTo>
                  <a:lnTo>
                    <a:pt x="186" y="375"/>
                  </a:lnTo>
                  <a:lnTo>
                    <a:pt x="171" y="381"/>
                  </a:lnTo>
                  <a:lnTo>
                    <a:pt x="155" y="384"/>
                  </a:lnTo>
                  <a:lnTo>
                    <a:pt x="129" y="393"/>
                  </a:lnTo>
                  <a:lnTo>
                    <a:pt x="106" y="401"/>
                  </a:lnTo>
                  <a:lnTo>
                    <a:pt x="83" y="410"/>
                  </a:lnTo>
                  <a:lnTo>
                    <a:pt x="64" y="419"/>
                  </a:lnTo>
                  <a:lnTo>
                    <a:pt x="46" y="428"/>
                  </a:lnTo>
                  <a:lnTo>
                    <a:pt x="32" y="438"/>
                  </a:lnTo>
                  <a:lnTo>
                    <a:pt x="27" y="444"/>
                  </a:lnTo>
                  <a:lnTo>
                    <a:pt x="22" y="449"/>
                  </a:lnTo>
                  <a:lnTo>
                    <a:pt x="18" y="455"/>
                  </a:lnTo>
                  <a:lnTo>
                    <a:pt x="15" y="460"/>
                  </a:lnTo>
                  <a:lnTo>
                    <a:pt x="10" y="479"/>
                  </a:lnTo>
                  <a:lnTo>
                    <a:pt x="6" y="499"/>
                  </a:lnTo>
                  <a:lnTo>
                    <a:pt x="4" y="521"/>
                  </a:lnTo>
                  <a:lnTo>
                    <a:pt x="2" y="540"/>
                  </a:lnTo>
                  <a:lnTo>
                    <a:pt x="0" y="573"/>
                  </a:lnTo>
                  <a:lnTo>
                    <a:pt x="0" y="589"/>
                  </a:lnTo>
                  <a:lnTo>
                    <a:pt x="1" y="594"/>
                  </a:lnTo>
                  <a:lnTo>
                    <a:pt x="4" y="598"/>
                  </a:lnTo>
                  <a:lnTo>
                    <a:pt x="7" y="600"/>
                  </a:lnTo>
                  <a:lnTo>
                    <a:pt x="11" y="602"/>
                  </a:lnTo>
                  <a:lnTo>
                    <a:pt x="350" y="602"/>
                  </a:lnTo>
                  <a:lnTo>
                    <a:pt x="346" y="594"/>
                  </a:lnTo>
                  <a:lnTo>
                    <a:pt x="345" y="589"/>
                  </a:lnTo>
                  <a:lnTo>
                    <a:pt x="345" y="585"/>
                  </a:lnTo>
                  <a:lnTo>
                    <a:pt x="348" y="581"/>
                  </a:lnTo>
                  <a:lnTo>
                    <a:pt x="352" y="5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3674">
              <a:extLst>
                <a:ext uri="{FF2B5EF4-FFF2-40B4-BE49-F238E27FC236}">
                  <a16:creationId xmlns:a16="http://schemas.microsoft.com/office/drawing/2014/main" id="{186E01B6-3AD4-44F8-BF39-F66244FA66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97650" y="5497513"/>
              <a:ext cx="131762" cy="133350"/>
            </a:xfrm>
            <a:custGeom>
              <a:avLst/>
              <a:gdLst>
                <a:gd name="T0" fmla="*/ 151 w 332"/>
                <a:gd name="T1" fmla="*/ 243 h 336"/>
                <a:gd name="T2" fmla="*/ 129 w 332"/>
                <a:gd name="T3" fmla="*/ 235 h 336"/>
                <a:gd name="T4" fmla="*/ 111 w 332"/>
                <a:gd name="T5" fmla="*/ 222 h 336"/>
                <a:gd name="T6" fmla="*/ 97 w 332"/>
                <a:gd name="T7" fmla="*/ 204 h 336"/>
                <a:gd name="T8" fmla="*/ 89 w 332"/>
                <a:gd name="T9" fmla="*/ 182 h 336"/>
                <a:gd name="T10" fmla="*/ 88 w 332"/>
                <a:gd name="T11" fmla="*/ 159 h 336"/>
                <a:gd name="T12" fmla="*/ 94 w 332"/>
                <a:gd name="T13" fmla="*/ 136 h 336"/>
                <a:gd name="T14" fmla="*/ 106 w 332"/>
                <a:gd name="T15" fmla="*/ 117 h 336"/>
                <a:gd name="T16" fmla="*/ 122 w 332"/>
                <a:gd name="T17" fmla="*/ 103 h 336"/>
                <a:gd name="T18" fmla="*/ 143 w 332"/>
                <a:gd name="T19" fmla="*/ 92 h 336"/>
                <a:gd name="T20" fmla="*/ 166 w 332"/>
                <a:gd name="T21" fmla="*/ 89 h 336"/>
                <a:gd name="T22" fmla="*/ 189 w 332"/>
                <a:gd name="T23" fmla="*/ 92 h 336"/>
                <a:gd name="T24" fmla="*/ 210 w 332"/>
                <a:gd name="T25" fmla="*/ 103 h 336"/>
                <a:gd name="T26" fmla="*/ 226 w 332"/>
                <a:gd name="T27" fmla="*/ 117 h 336"/>
                <a:gd name="T28" fmla="*/ 238 w 332"/>
                <a:gd name="T29" fmla="*/ 136 h 336"/>
                <a:gd name="T30" fmla="*/ 243 w 332"/>
                <a:gd name="T31" fmla="*/ 159 h 336"/>
                <a:gd name="T32" fmla="*/ 242 w 332"/>
                <a:gd name="T33" fmla="*/ 182 h 336"/>
                <a:gd name="T34" fmla="*/ 234 w 332"/>
                <a:gd name="T35" fmla="*/ 204 h 336"/>
                <a:gd name="T36" fmla="*/ 221 w 332"/>
                <a:gd name="T37" fmla="*/ 222 h 336"/>
                <a:gd name="T38" fmla="*/ 203 w 332"/>
                <a:gd name="T39" fmla="*/ 235 h 336"/>
                <a:gd name="T40" fmla="*/ 181 w 332"/>
                <a:gd name="T41" fmla="*/ 243 h 336"/>
                <a:gd name="T42" fmla="*/ 306 w 332"/>
                <a:gd name="T43" fmla="*/ 204 h 336"/>
                <a:gd name="T44" fmla="*/ 300 w 332"/>
                <a:gd name="T45" fmla="*/ 195 h 336"/>
                <a:gd name="T46" fmla="*/ 302 w 332"/>
                <a:gd name="T47" fmla="*/ 167 h 336"/>
                <a:gd name="T48" fmla="*/ 300 w 332"/>
                <a:gd name="T49" fmla="*/ 139 h 336"/>
                <a:gd name="T50" fmla="*/ 306 w 332"/>
                <a:gd name="T51" fmla="*/ 130 h 336"/>
                <a:gd name="T52" fmla="*/ 269 w 332"/>
                <a:gd name="T53" fmla="*/ 64 h 336"/>
                <a:gd name="T54" fmla="*/ 257 w 332"/>
                <a:gd name="T55" fmla="*/ 65 h 336"/>
                <a:gd name="T56" fmla="*/ 242 w 332"/>
                <a:gd name="T57" fmla="*/ 53 h 336"/>
                <a:gd name="T58" fmla="*/ 215 w 332"/>
                <a:gd name="T59" fmla="*/ 35 h 336"/>
                <a:gd name="T60" fmla="*/ 207 w 332"/>
                <a:gd name="T61" fmla="*/ 27 h 336"/>
                <a:gd name="T62" fmla="*/ 135 w 332"/>
                <a:gd name="T63" fmla="*/ 0 h 336"/>
                <a:gd name="T64" fmla="*/ 133 w 332"/>
                <a:gd name="T65" fmla="*/ 31 h 336"/>
                <a:gd name="T66" fmla="*/ 113 w 332"/>
                <a:gd name="T67" fmla="*/ 41 h 336"/>
                <a:gd name="T68" fmla="*/ 77 w 332"/>
                <a:gd name="T69" fmla="*/ 63 h 336"/>
                <a:gd name="T70" fmla="*/ 67 w 332"/>
                <a:gd name="T71" fmla="*/ 65 h 336"/>
                <a:gd name="T72" fmla="*/ 0 w 332"/>
                <a:gd name="T73" fmla="*/ 114 h 336"/>
                <a:gd name="T74" fmla="*/ 31 w 332"/>
                <a:gd name="T75" fmla="*/ 135 h 336"/>
                <a:gd name="T76" fmla="*/ 30 w 332"/>
                <a:gd name="T77" fmla="*/ 154 h 336"/>
                <a:gd name="T78" fmla="*/ 31 w 332"/>
                <a:gd name="T79" fmla="*/ 191 h 336"/>
                <a:gd name="T80" fmla="*/ 29 w 332"/>
                <a:gd name="T81" fmla="*/ 202 h 336"/>
                <a:gd name="T82" fmla="*/ 38 w 332"/>
                <a:gd name="T83" fmla="*/ 284 h 336"/>
                <a:gd name="T84" fmla="*/ 71 w 332"/>
                <a:gd name="T85" fmla="*/ 267 h 336"/>
                <a:gd name="T86" fmla="*/ 89 w 332"/>
                <a:gd name="T87" fmla="*/ 279 h 336"/>
                <a:gd name="T88" fmla="*/ 139 w 332"/>
                <a:gd name="T89" fmla="*/ 300 h 336"/>
                <a:gd name="T90" fmla="*/ 146 w 332"/>
                <a:gd name="T91" fmla="*/ 308 h 336"/>
                <a:gd name="T92" fmla="*/ 207 w 332"/>
                <a:gd name="T93" fmla="*/ 336 h 336"/>
                <a:gd name="T94" fmla="*/ 208 w 332"/>
                <a:gd name="T95" fmla="*/ 306 h 336"/>
                <a:gd name="T96" fmla="*/ 223 w 332"/>
                <a:gd name="T97" fmla="*/ 297 h 336"/>
                <a:gd name="T98" fmla="*/ 246 w 332"/>
                <a:gd name="T99" fmla="*/ 279 h 336"/>
                <a:gd name="T100" fmla="*/ 257 w 332"/>
                <a:gd name="T101" fmla="*/ 268 h 336"/>
                <a:gd name="T102" fmla="*/ 269 w 332"/>
                <a:gd name="T103" fmla="*/ 270 h 336"/>
                <a:gd name="T104" fmla="*/ 306 w 332"/>
                <a:gd name="T105" fmla="*/ 204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32" h="336">
                  <a:moveTo>
                    <a:pt x="166" y="245"/>
                  </a:moveTo>
                  <a:lnTo>
                    <a:pt x="158" y="244"/>
                  </a:lnTo>
                  <a:lnTo>
                    <a:pt x="151" y="243"/>
                  </a:lnTo>
                  <a:lnTo>
                    <a:pt x="143" y="241"/>
                  </a:lnTo>
                  <a:lnTo>
                    <a:pt x="135" y="239"/>
                  </a:lnTo>
                  <a:lnTo>
                    <a:pt x="129" y="235"/>
                  </a:lnTo>
                  <a:lnTo>
                    <a:pt x="122" y="231"/>
                  </a:lnTo>
                  <a:lnTo>
                    <a:pt x="116" y="227"/>
                  </a:lnTo>
                  <a:lnTo>
                    <a:pt x="111" y="222"/>
                  </a:lnTo>
                  <a:lnTo>
                    <a:pt x="106" y="217"/>
                  </a:lnTo>
                  <a:lnTo>
                    <a:pt x="101" y="211"/>
                  </a:lnTo>
                  <a:lnTo>
                    <a:pt x="97" y="204"/>
                  </a:lnTo>
                  <a:lnTo>
                    <a:pt x="94" y="198"/>
                  </a:lnTo>
                  <a:lnTo>
                    <a:pt x="92" y="190"/>
                  </a:lnTo>
                  <a:lnTo>
                    <a:pt x="89" y="182"/>
                  </a:lnTo>
                  <a:lnTo>
                    <a:pt x="88" y="175"/>
                  </a:lnTo>
                  <a:lnTo>
                    <a:pt x="88" y="167"/>
                  </a:lnTo>
                  <a:lnTo>
                    <a:pt x="88" y="159"/>
                  </a:lnTo>
                  <a:lnTo>
                    <a:pt x="89" y="151"/>
                  </a:lnTo>
                  <a:lnTo>
                    <a:pt x="92" y="144"/>
                  </a:lnTo>
                  <a:lnTo>
                    <a:pt x="94" y="136"/>
                  </a:lnTo>
                  <a:lnTo>
                    <a:pt x="97" y="130"/>
                  </a:lnTo>
                  <a:lnTo>
                    <a:pt x="101" y="123"/>
                  </a:lnTo>
                  <a:lnTo>
                    <a:pt x="106" y="117"/>
                  </a:lnTo>
                  <a:lnTo>
                    <a:pt x="111" y="112"/>
                  </a:lnTo>
                  <a:lnTo>
                    <a:pt x="116" y="106"/>
                  </a:lnTo>
                  <a:lnTo>
                    <a:pt x="122" y="103"/>
                  </a:lnTo>
                  <a:lnTo>
                    <a:pt x="129" y="99"/>
                  </a:lnTo>
                  <a:lnTo>
                    <a:pt x="135" y="95"/>
                  </a:lnTo>
                  <a:lnTo>
                    <a:pt x="143" y="92"/>
                  </a:lnTo>
                  <a:lnTo>
                    <a:pt x="151" y="90"/>
                  </a:lnTo>
                  <a:lnTo>
                    <a:pt x="158" y="90"/>
                  </a:lnTo>
                  <a:lnTo>
                    <a:pt x="166" y="89"/>
                  </a:lnTo>
                  <a:lnTo>
                    <a:pt x="174" y="90"/>
                  </a:lnTo>
                  <a:lnTo>
                    <a:pt x="181" y="90"/>
                  </a:lnTo>
                  <a:lnTo>
                    <a:pt x="189" y="92"/>
                  </a:lnTo>
                  <a:lnTo>
                    <a:pt x="196" y="95"/>
                  </a:lnTo>
                  <a:lnTo>
                    <a:pt x="203" y="99"/>
                  </a:lnTo>
                  <a:lnTo>
                    <a:pt x="210" y="103"/>
                  </a:lnTo>
                  <a:lnTo>
                    <a:pt x="215" y="106"/>
                  </a:lnTo>
                  <a:lnTo>
                    <a:pt x="221" y="112"/>
                  </a:lnTo>
                  <a:lnTo>
                    <a:pt x="226" y="117"/>
                  </a:lnTo>
                  <a:lnTo>
                    <a:pt x="230" y="123"/>
                  </a:lnTo>
                  <a:lnTo>
                    <a:pt x="234" y="130"/>
                  </a:lnTo>
                  <a:lnTo>
                    <a:pt x="238" y="136"/>
                  </a:lnTo>
                  <a:lnTo>
                    <a:pt x="241" y="144"/>
                  </a:lnTo>
                  <a:lnTo>
                    <a:pt x="242" y="151"/>
                  </a:lnTo>
                  <a:lnTo>
                    <a:pt x="243" y="159"/>
                  </a:lnTo>
                  <a:lnTo>
                    <a:pt x="244" y="167"/>
                  </a:lnTo>
                  <a:lnTo>
                    <a:pt x="243" y="175"/>
                  </a:lnTo>
                  <a:lnTo>
                    <a:pt x="242" y="182"/>
                  </a:lnTo>
                  <a:lnTo>
                    <a:pt x="241" y="190"/>
                  </a:lnTo>
                  <a:lnTo>
                    <a:pt x="238" y="198"/>
                  </a:lnTo>
                  <a:lnTo>
                    <a:pt x="234" y="204"/>
                  </a:lnTo>
                  <a:lnTo>
                    <a:pt x="230" y="211"/>
                  </a:lnTo>
                  <a:lnTo>
                    <a:pt x="226" y="217"/>
                  </a:lnTo>
                  <a:lnTo>
                    <a:pt x="221" y="222"/>
                  </a:lnTo>
                  <a:lnTo>
                    <a:pt x="215" y="227"/>
                  </a:lnTo>
                  <a:lnTo>
                    <a:pt x="210" y="231"/>
                  </a:lnTo>
                  <a:lnTo>
                    <a:pt x="203" y="235"/>
                  </a:lnTo>
                  <a:lnTo>
                    <a:pt x="196" y="239"/>
                  </a:lnTo>
                  <a:lnTo>
                    <a:pt x="189" y="241"/>
                  </a:lnTo>
                  <a:lnTo>
                    <a:pt x="181" y="243"/>
                  </a:lnTo>
                  <a:lnTo>
                    <a:pt x="174" y="244"/>
                  </a:lnTo>
                  <a:lnTo>
                    <a:pt x="166" y="245"/>
                  </a:lnTo>
                  <a:close/>
                  <a:moveTo>
                    <a:pt x="306" y="204"/>
                  </a:moveTo>
                  <a:lnTo>
                    <a:pt x="302" y="202"/>
                  </a:lnTo>
                  <a:lnTo>
                    <a:pt x="301" y="199"/>
                  </a:lnTo>
                  <a:lnTo>
                    <a:pt x="300" y="195"/>
                  </a:lnTo>
                  <a:lnTo>
                    <a:pt x="300" y="191"/>
                  </a:lnTo>
                  <a:lnTo>
                    <a:pt x="302" y="180"/>
                  </a:lnTo>
                  <a:lnTo>
                    <a:pt x="302" y="167"/>
                  </a:lnTo>
                  <a:lnTo>
                    <a:pt x="302" y="154"/>
                  </a:lnTo>
                  <a:lnTo>
                    <a:pt x="300" y="142"/>
                  </a:lnTo>
                  <a:lnTo>
                    <a:pt x="300" y="139"/>
                  </a:lnTo>
                  <a:lnTo>
                    <a:pt x="301" y="135"/>
                  </a:lnTo>
                  <a:lnTo>
                    <a:pt x="302" y="132"/>
                  </a:lnTo>
                  <a:lnTo>
                    <a:pt x="306" y="130"/>
                  </a:lnTo>
                  <a:lnTo>
                    <a:pt x="332" y="114"/>
                  </a:lnTo>
                  <a:lnTo>
                    <a:pt x="293" y="50"/>
                  </a:lnTo>
                  <a:lnTo>
                    <a:pt x="269" y="64"/>
                  </a:lnTo>
                  <a:lnTo>
                    <a:pt x="265" y="65"/>
                  </a:lnTo>
                  <a:lnTo>
                    <a:pt x="261" y="65"/>
                  </a:lnTo>
                  <a:lnTo>
                    <a:pt x="257" y="65"/>
                  </a:lnTo>
                  <a:lnTo>
                    <a:pt x="255" y="63"/>
                  </a:lnTo>
                  <a:lnTo>
                    <a:pt x="251" y="59"/>
                  </a:lnTo>
                  <a:lnTo>
                    <a:pt x="242" y="53"/>
                  </a:lnTo>
                  <a:lnTo>
                    <a:pt x="233" y="45"/>
                  </a:lnTo>
                  <a:lnTo>
                    <a:pt x="224" y="40"/>
                  </a:lnTo>
                  <a:lnTo>
                    <a:pt x="215" y="35"/>
                  </a:lnTo>
                  <a:lnTo>
                    <a:pt x="211" y="33"/>
                  </a:lnTo>
                  <a:lnTo>
                    <a:pt x="208" y="31"/>
                  </a:lnTo>
                  <a:lnTo>
                    <a:pt x="207" y="27"/>
                  </a:lnTo>
                  <a:lnTo>
                    <a:pt x="207" y="24"/>
                  </a:lnTo>
                  <a:lnTo>
                    <a:pt x="207" y="0"/>
                  </a:lnTo>
                  <a:lnTo>
                    <a:pt x="135" y="0"/>
                  </a:lnTo>
                  <a:lnTo>
                    <a:pt x="135" y="24"/>
                  </a:lnTo>
                  <a:lnTo>
                    <a:pt x="134" y="27"/>
                  </a:lnTo>
                  <a:lnTo>
                    <a:pt x="133" y="31"/>
                  </a:lnTo>
                  <a:lnTo>
                    <a:pt x="130" y="33"/>
                  </a:lnTo>
                  <a:lnTo>
                    <a:pt x="126" y="35"/>
                  </a:lnTo>
                  <a:lnTo>
                    <a:pt x="113" y="41"/>
                  </a:lnTo>
                  <a:lnTo>
                    <a:pt x="101" y="47"/>
                  </a:lnTo>
                  <a:lnTo>
                    <a:pt x="88" y="55"/>
                  </a:lnTo>
                  <a:lnTo>
                    <a:pt x="77" y="63"/>
                  </a:lnTo>
                  <a:lnTo>
                    <a:pt x="75" y="65"/>
                  </a:lnTo>
                  <a:lnTo>
                    <a:pt x="71" y="65"/>
                  </a:lnTo>
                  <a:lnTo>
                    <a:pt x="67" y="65"/>
                  </a:lnTo>
                  <a:lnTo>
                    <a:pt x="63" y="64"/>
                  </a:lnTo>
                  <a:lnTo>
                    <a:pt x="38" y="50"/>
                  </a:lnTo>
                  <a:lnTo>
                    <a:pt x="0" y="114"/>
                  </a:lnTo>
                  <a:lnTo>
                    <a:pt x="26" y="130"/>
                  </a:lnTo>
                  <a:lnTo>
                    <a:pt x="29" y="132"/>
                  </a:lnTo>
                  <a:lnTo>
                    <a:pt x="31" y="135"/>
                  </a:lnTo>
                  <a:lnTo>
                    <a:pt x="33" y="139"/>
                  </a:lnTo>
                  <a:lnTo>
                    <a:pt x="31" y="142"/>
                  </a:lnTo>
                  <a:lnTo>
                    <a:pt x="30" y="154"/>
                  </a:lnTo>
                  <a:lnTo>
                    <a:pt x="30" y="167"/>
                  </a:lnTo>
                  <a:lnTo>
                    <a:pt x="30" y="178"/>
                  </a:lnTo>
                  <a:lnTo>
                    <a:pt x="31" y="191"/>
                  </a:lnTo>
                  <a:lnTo>
                    <a:pt x="33" y="195"/>
                  </a:lnTo>
                  <a:lnTo>
                    <a:pt x="31" y="199"/>
                  </a:lnTo>
                  <a:lnTo>
                    <a:pt x="29" y="202"/>
                  </a:lnTo>
                  <a:lnTo>
                    <a:pt x="26" y="204"/>
                  </a:lnTo>
                  <a:lnTo>
                    <a:pt x="0" y="220"/>
                  </a:lnTo>
                  <a:lnTo>
                    <a:pt x="38" y="284"/>
                  </a:lnTo>
                  <a:lnTo>
                    <a:pt x="63" y="270"/>
                  </a:lnTo>
                  <a:lnTo>
                    <a:pt x="67" y="268"/>
                  </a:lnTo>
                  <a:lnTo>
                    <a:pt x="71" y="267"/>
                  </a:lnTo>
                  <a:lnTo>
                    <a:pt x="75" y="268"/>
                  </a:lnTo>
                  <a:lnTo>
                    <a:pt x="77" y="271"/>
                  </a:lnTo>
                  <a:lnTo>
                    <a:pt x="89" y="279"/>
                  </a:lnTo>
                  <a:lnTo>
                    <a:pt x="106" y="286"/>
                  </a:lnTo>
                  <a:lnTo>
                    <a:pt x="124" y="295"/>
                  </a:lnTo>
                  <a:lnTo>
                    <a:pt x="139" y="300"/>
                  </a:lnTo>
                  <a:lnTo>
                    <a:pt x="142" y="303"/>
                  </a:lnTo>
                  <a:lnTo>
                    <a:pt x="144" y="306"/>
                  </a:lnTo>
                  <a:lnTo>
                    <a:pt x="146" y="308"/>
                  </a:lnTo>
                  <a:lnTo>
                    <a:pt x="147" y="312"/>
                  </a:lnTo>
                  <a:lnTo>
                    <a:pt x="147" y="336"/>
                  </a:lnTo>
                  <a:lnTo>
                    <a:pt x="207" y="336"/>
                  </a:lnTo>
                  <a:lnTo>
                    <a:pt x="207" y="312"/>
                  </a:lnTo>
                  <a:lnTo>
                    <a:pt x="207" y="308"/>
                  </a:lnTo>
                  <a:lnTo>
                    <a:pt x="208" y="306"/>
                  </a:lnTo>
                  <a:lnTo>
                    <a:pt x="211" y="303"/>
                  </a:lnTo>
                  <a:lnTo>
                    <a:pt x="215" y="300"/>
                  </a:lnTo>
                  <a:lnTo>
                    <a:pt x="223" y="297"/>
                  </a:lnTo>
                  <a:lnTo>
                    <a:pt x="230" y="291"/>
                  </a:lnTo>
                  <a:lnTo>
                    <a:pt x="238" y="285"/>
                  </a:lnTo>
                  <a:lnTo>
                    <a:pt x="246" y="279"/>
                  </a:lnTo>
                  <a:lnTo>
                    <a:pt x="250" y="275"/>
                  </a:lnTo>
                  <a:lnTo>
                    <a:pt x="255" y="271"/>
                  </a:lnTo>
                  <a:lnTo>
                    <a:pt x="257" y="268"/>
                  </a:lnTo>
                  <a:lnTo>
                    <a:pt x="261" y="267"/>
                  </a:lnTo>
                  <a:lnTo>
                    <a:pt x="265" y="268"/>
                  </a:lnTo>
                  <a:lnTo>
                    <a:pt x="269" y="270"/>
                  </a:lnTo>
                  <a:lnTo>
                    <a:pt x="295" y="284"/>
                  </a:lnTo>
                  <a:lnTo>
                    <a:pt x="332" y="220"/>
                  </a:lnTo>
                  <a:lnTo>
                    <a:pt x="306" y="2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7F8ECD9E-585F-4822-AE27-1D722BB93313}"/>
              </a:ext>
            </a:extLst>
          </p:cNvPr>
          <p:cNvGrpSpPr/>
          <p:nvPr/>
        </p:nvGrpSpPr>
        <p:grpSpPr>
          <a:xfrm>
            <a:off x="3547206" y="3065442"/>
            <a:ext cx="380334" cy="266234"/>
            <a:chOff x="8161338" y="795338"/>
            <a:chExt cx="285750" cy="200025"/>
          </a:xfrm>
          <a:solidFill>
            <a:schemeClr val="accent3"/>
          </a:solidFill>
        </p:grpSpPr>
        <p:sp>
          <p:nvSpPr>
            <p:cNvPr id="57" name="Freeform 3824">
              <a:extLst>
                <a:ext uri="{FF2B5EF4-FFF2-40B4-BE49-F238E27FC236}">
                  <a16:creationId xmlns:a16="http://schemas.microsoft.com/office/drawing/2014/main" id="{A4AD0292-B5EF-4CFA-9736-5D577FEE296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61338" y="876300"/>
              <a:ext cx="285750" cy="119063"/>
            </a:xfrm>
            <a:custGeom>
              <a:avLst/>
              <a:gdLst>
                <a:gd name="T0" fmla="*/ 871 w 901"/>
                <a:gd name="T1" fmla="*/ 334 h 377"/>
                <a:gd name="T2" fmla="*/ 868 w 901"/>
                <a:gd name="T3" fmla="*/ 339 h 377"/>
                <a:gd name="T4" fmla="*/ 864 w 901"/>
                <a:gd name="T5" fmla="*/ 343 h 377"/>
                <a:gd name="T6" fmla="*/ 859 w 901"/>
                <a:gd name="T7" fmla="*/ 346 h 377"/>
                <a:gd name="T8" fmla="*/ 45 w 901"/>
                <a:gd name="T9" fmla="*/ 346 h 377"/>
                <a:gd name="T10" fmla="*/ 38 w 901"/>
                <a:gd name="T11" fmla="*/ 344 h 377"/>
                <a:gd name="T12" fmla="*/ 34 w 901"/>
                <a:gd name="T13" fmla="*/ 341 h 377"/>
                <a:gd name="T14" fmla="*/ 31 w 901"/>
                <a:gd name="T15" fmla="*/ 337 h 377"/>
                <a:gd name="T16" fmla="*/ 30 w 901"/>
                <a:gd name="T17" fmla="*/ 332 h 377"/>
                <a:gd name="T18" fmla="*/ 30 w 901"/>
                <a:gd name="T19" fmla="*/ 42 h 377"/>
                <a:gd name="T20" fmla="*/ 32 w 901"/>
                <a:gd name="T21" fmla="*/ 37 h 377"/>
                <a:gd name="T22" fmla="*/ 36 w 901"/>
                <a:gd name="T23" fmla="*/ 34 h 377"/>
                <a:gd name="T24" fmla="*/ 42 w 901"/>
                <a:gd name="T25" fmla="*/ 31 h 377"/>
                <a:gd name="T26" fmla="*/ 260 w 901"/>
                <a:gd name="T27" fmla="*/ 30 h 377"/>
                <a:gd name="T28" fmla="*/ 267 w 901"/>
                <a:gd name="T29" fmla="*/ 31 h 377"/>
                <a:gd name="T30" fmla="*/ 271 w 901"/>
                <a:gd name="T31" fmla="*/ 35 h 377"/>
                <a:gd name="T32" fmla="*/ 274 w 901"/>
                <a:gd name="T33" fmla="*/ 40 h 377"/>
                <a:gd name="T34" fmla="*/ 275 w 901"/>
                <a:gd name="T35" fmla="*/ 45 h 377"/>
                <a:gd name="T36" fmla="*/ 274 w 901"/>
                <a:gd name="T37" fmla="*/ 52 h 377"/>
                <a:gd name="T38" fmla="*/ 271 w 901"/>
                <a:gd name="T39" fmla="*/ 56 h 377"/>
                <a:gd name="T40" fmla="*/ 267 w 901"/>
                <a:gd name="T41" fmla="*/ 59 h 377"/>
                <a:gd name="T42" fmla="*/ 260 w 901"/>
                <a:gd name="T43" fmla="*/ 60 h 377"/>
                <a:gd name="T44" fmla="*/ 60 w 901"/>
                <a:gd name="T45" fmla="*/ 316 h 377"/>
                <a:gd name="T46" fmla="*/ 841 w 901"/>
                <a:gd name="T47" fmla="*/ 60 h 377"/>
                <a:gd name="T48" fmla="*/ 731 w 901"/>
                <a:gd name="T49" fmla="*/ 60 h 377"/>
                <a:gd name="T50" fmla="*/ 726 w 901"/>
                <a:gd name="T51" fmla="*/ 58 h 377"/>
                <a:gd name="T52" fmla="*/ 721 w 901"/>
                <a:gd name="T53" fmla="*/ 54 h 377"/>
                <a:gd name="T54" fmla="*/ 719 w 901"/>
                <a:gd name="T55" fmla="*/ 49 h 377"/>
                <a:gd name="T56" fmla="*/ 719 w 901"/>
                <a:gd name="T57" fmla="*/ 43 h 377"/>
                <a:gd name="T58" fmla="*/ 721 w 901"/>
                <a:gd name="T59" fmla="*/ 38 h 377"/>
                <a:gd name="T60" fmla="*/ 726 w 901"/>
                <a:gd name="T61" fmla="*/ 34 h 377"/>
                <a:gd name="T62" fmla="*/ 731 w 901"/>
                <a:gd name="T63" fmla="*/ 31 h 377"/>
                <a:gd name="T64" fmla="*/ 856 w 901"/>
                <a:gd name="T65" fmla="*/ 30 h 377"/>
                <a:gd name="T66" fmla="*/ 862 w 901"/>
                <a:gd name="T67" fmla="*/ 31 h 377"/>
                <a:gd name="T68" fmla="*/ 866 w 901"/>
                <a:gd name="T69" fmla="*/ 35 h 377"/>
                <a:gd name="T70" fmla="*/ 870 w 901"/>
                <a:gd name="T71" fmla="*/ 40 h 377"/>
                <a:gd name="T72" fmla="*/ 871 w 901"/>
                <a:gd name="T73" fmla="*/ 45 h 377"/>
                <a:gd name="T74" fmla="*/ 871 w 901"/>
                <a:gd name="T75" fmla="*/ 0 h 377"/>
                <a:gd name="T76" fmla="*/ 511 w 901"/>
                <a:gd name="T77" fmla="*/ 111 h 377"/>
                <a:gd name="T78" fmla="*/ 400 w 901"/>
                <a:gd name="T79" fmla="*/ 0 h 377"/>
                <a:gd name="T80" fmla="*/ 23 w 901"/>
                <a:gd name="T81" fmla="*/ 1 h 377"/>
                <a:gd name="T82" fmla="*/ 13 w 901"/>
                <a:gd name="T83" fmla="*/ 6 h 377"/>
                <a:gd name="T84" fmla="*/ 5 w 901"/>
                <a:gd name="T85" fmla="*/ 14 h 377"/>
                <a:gd name="T86" fmla="*/ 0 w 901"/>
                <a:gd name="T87" fmla="*/ 25 h 377"/>
                <a:gd name="T88" fmla="*/ 0 w 901"/>
                <a:gd name="T89" fmla="*/ 346 h 377"/>
                <a:gd name="T90" fmla="*/ 2 w 901"/>
                <a:gd name="T91" fmla="*/ 357 h 377"/>
                <a:gd name="T92" fmla="*/ 8 w 901"/>
                <a:gd name="T93" fmla="*/ 367 h 377"/>
                <a:gd name="T94" fmla="*/ 18 w 901"/>
                <a:gd name="T95" fmla="*/ 373 h 377"/>
                <a:gd name="T96" fmla="*/ 30 w 901"/>
                <a:gd name="T97" fmla="*/ 377 h 377"/>
                <a:gd name="T98" fmla="*/ 877 w 901"/>
                <a:gd name="T99" fmla="*/ 376 h 377"/>
                <a:gd name="T100" fmla="*/ 888 w 901"/>
                <a:gd name="T101" fmla="*/ 371 h 377"/>
                <a:gd name="T102" fmla="*/ 896 w 901"/>
                <a:gd name="T103" fmla="*/ 363 h 377"/>
                <a:gd name="T104" fmla="*/ 901 w 901"/>
                <a:gd name="T105" fmla="*/ 352 h 377"/>
                <a:gd name="T106" fmla="*/ 901 w 901"/>
                <a:gd name="T107" fmla="*/ 30 h 377"/>
                <a:gd name="T108" fmla="*/ 898 w 901"/>
                <a:gd name="T109" fmla="*/ 19 h 377"/>
                <a:gd name="T110" fmla="*/ 892 w 901"/>
                <a:gd name="T111" fmla="*/ 9 h 377"/>
                <a:gd name="T112" fmla="*/ 882 w 901"/>
                <a:gd name="T113" fmla="*/ 2 h 377"/>
                <a:gd name="T114" fmla="*/ 871 w 901"/>
                <a:gd name="T115" fmla="*/ 0 h 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901" h="377">
                  <a:moveTo>
                    <a:pt x="871" y="331"/>
                  </a:moveTo>
                  <a:lnTo>
                    <a:pt x="871" y="334"/>
                  </a:lnTo>
                  <a:lnTo>
                    <a:pt x="870" y="337"/>
                  </a:lnTo>
                  <a:lnTo>
                    <a:pt x="868" y="339"/>
                  </a:lnTo>
                  <a:lnTo>
                    <a:pt x="866" y="341"/>
                  </a:lnTo>
                  <a:lnTo>
                    <a:pt x="864" y="343"/>
                  </a:lnTo>
                  <a:lnTo>
                    <a:pt x="862" y="344"/>
                  </a:lnTo>
                  <a:lnTo>
                    <a:pt x="859" y="346"/>
                  </a:lnTo>
                  <a:lnTo>
                    <a:pt x="856" y="347"/>
                  </a:lnTo>
                  <a:lnTo>
                    <a:pt x="45" y="346"/>
                  </a:lnTo>
                  <a:lnTo>
                    <a:pt x="42" y="346"/>
                  </a:lnTo>
                  <a:lnTo>
                    <a:pt x="38" y="344"/>
                  </a:lnTo>
                  <a:lnTo>
                    <a:pt x="36" y="343"/>
                  </a:lnTo>
                  <a:lnTo>
                    <a:pt x="34" y="341"/>
                  </a:lnTo>
                  <a:lnTo>
                    <a:pt x="32" y="339"/>
                  </a:lnTo>
                  <a:lnTo>
                    <a:pt x="31" y="337"/>
                  </a:lnTo>
                  <a:lnTo>
                    <a:pt x="30" y="334"/>
                  </a:lnTo>
                  <a:lnTo>
                    <a:pt x="30" y="332"/>
                  </a:lnTo>
                  <a:lnTo>
                    <a:pt x="30" y="45"/>
                  </a:lnTo>
                  <a:lnTo>
                    <a:pt x="30" y="42"/>
                  </a:lnTo>
                  <a:lnTo>
                    <a:pt x="31" y="40"/>
                  </a:lnTo>
                  <a:lnTo>
                    <a:pt x="32" y="37"/>
                  </a:lnTo>
                  <a:lnTo>
                    <a:pt x="34" y="35"/>
                  </a:lnTo>
                  <a:lnTo>
                    <a:pt x="36" y="34"/>
                  </a:lnTo>
                  <a:lnTo>
                    <a:pt x="38" y="31"/>
                  </a:lnTo>
                  <a:lnTo>
                    <a:pt x="42" y="31"/>
                  </a:lnTo>
                  <a:lnTo>
                    <a:pt x="45" y="30"/>
                  </a:lnTo>
                  <a:lnTo>
                    <a:pt x="260" y="30"/>
                  </a:lnTo>
                  <a:lnTo>
                    <a:pt x="264" y="31"/>
                  </a:lnTo>
                  <a:lnTo>
                    <a:pt x="267" y="31"/>
                  </a:lnTo>
                  <a:lnTo>
                    <a:pt x="269" y="34"/>
                  </a:lnTo>
                  <a:lnTo>
                    <a:pt x="271" y="35"/>
                  </a:lnTo>
                  <a:lnTo>
                    <a:pt x="273" y="38"/>
                  </a:lnTo>
                  <a:lnTo>
                    <a:pt x="274" y="40"/>
                  </a:lnTo>
                  <a:lnTo>
                    <a:pt x="275" y="43"/>
                  </a:lnTo>
                  <a:lnTo>
                    <a:pt x="275" y="45"/>
                  </a:lnTo>
                  <a:lnTo>
                    <a:pt x="275" y="49"/>
                  </a:lnTo>
                  <a:lnTo>
                    <a:pt x="274" y="52"/>
                  </a:lnTo>
                  <a:lnTo>
                    <a:pt x="273" y="54"/>
                  </a:lnTo>
                  <a:lnTo>
                    <a:pt x="271" y="56"/>
                  </a:lnTo>
                  <a:lnTo>
                    <a:pt x="269" y="58"/>
                  </a:lnTo>
                  <a:lnTo>
                    <a:pt x="267" y="59"/>
                  </a:lnTo>
                  <a:lnTo>
                    <a:pt x="264" y="60"/>
                  </a:lnTo>
                  <a:lnTo>
                    <a:pt x="260" y="60"/>
                  </a:lnTo>
                  <a:lnTo>
                    <a:pt x="60" y="60"/>
                  </a:lnTo>
                  <a:lnTo>
                    <a:pt x="60" y="316"/>
                  </a:lnTo>
                  <a:lnTo>
                    <a:pt x="841" y="316"/>
                  </a:lnTo>
                  <a:lnTo>
                    <a:pt x="841" y="60"/>
                  </a:lnTo>
                  <a:lnTo>
                    <a:pt x="734" y="60"/>
                  </a:lnTo>
                  <a:lnTo>
                    <a:pt x="731" y="60"/>
                  </a:lnTo>
                  <a:lnTo>
                    <a:pt x="729" y="59"/>
                  </a:lnTo>
                  <a:lnTo>
                    <a:pt x="726" y="58"/>
                  </a:lnTo>
                  <a:lnTo>
                    <a:pt x="724" y="56"/>
                  </a:lnTo>
                  <a:lnTo>
                    <a:pt x="721" y="54"/>
                  </a:lnTo>
                  <a:lnTo>
                    <a:pt x="720" y="52"/>
                  </a:lnTo>
                  <a:lnTo>
                    <a:pt x="719" y="49"/>
                  </a:lnTo>
                  <a:lnTo>
                    <a:pt x="719" y="45"/>
                  </a:lnTo>
                  <a:lnTo>
                    <a:pt x="719" y="43"/>
                  </a:lnTo>
                  <a:lnTo>
                    <a:pt x="720" y="40"/>
                  </a:lnTo>
                  <a:lnTo>
                    <a:pt x="721" y="38"/>
                  </a:lnTo>
                  <a:lnTo>
                    <a:pt x="724" y="35"/>
                  </a:lnTo>
                  <a:lnTo>
                    <a:pt x="726" y="34"/>
                  </a:lnTo>
                  <a:lnTo>
                    <a:pt x="729" y="31"/>
                  </a:lnTo>
                  <a:lnTo>
                    <a:pt x="731" y="31"/>
                  </a:lnTo>
                  <a:lnTo>
                    <a:pt x="734" y="30"/>
                  </a:lnTo>
                  <a:lnTo>
                    <a:pt x="856" y="30"/>
                  </a:lnTo>
                  <a:lnTo>
                    <a:pt x="859" y="31"/>
                  </a:lnTo>
                  <a:lnTo>
                    <a:pt x="862" y="31"/>
                  </a:lnTo>
                  <a:lnTo>
                    <a:pt x="864" y="34"/>
                  </a:lnTo>
                  <a:lnTo>
                    <a:pt x="866" y="35"/>
                  </a:lnTo>
                  <a:lnTo>
                    <a:pt x="868" y="38"/>
                  </a:lnTo>
                  <a:lnTo>
                    <a:pt x="870" y="40"/>
                  </a:lnTo>
                  <a:lnTo>
                    <a:pt x="871" y="43"/>
                  </a:lnTo>
                  <a:lnTo>
                    <a:pt x="871" y="45"/>
                  </a:lnTo>
                  <a:lnTo>
                    <a:pt x="871" y="331"/>
                  </a:lnTo>
                  <a:close/>
                  <a:moveTo>
                    <a:pt x="871" y="0"/>
                  </a:moveTo>
                  <a:lnTo>
                    <a:pt x="622" y="0"/>
                  </a:lnTo>
                  <a:lnTo>
                    <a:pt x="511" y="111"/>
                  </a:lnTo>
                  <a:lnTo>
                    <a:pt x="336" y="190"/>
                  </a:lnTo>
                  <a:lnTo>
                    <a:pt x="400" y="0"/>
                  </a:lnTo>
                  <a:lnTo>
                    <a:pt x="30" y="0"/>
                  </a:lnTo>
                  <a:lnTo>
                    <a:pt x="23" y="1"/>
                  </a:lnTo>
                  <a:lnTo>
                    <a:pt x="18" y="2"/>
                  </a:lnTo>
                  <a:lnTo>
                    <a:pt x="13" y="6"/>
                  </a:lnTo>
                  <a:lnTo>
                    <a:pt x="8" y="10"/>
                  </a:lnTo>
                  <a:lnTo>
                    <a:pt x="5" y="14"/>
                  </a:lnTo>
                  <a:lnTo>
                    <a:pt x="2" y="19"/>
                  </a:lnTo>
                  <a:lnTo>
                    <a:pt x="0" y="25"/>
                  </a:lnTo>
                  <a:lnTo>
                    <a:pt x="0" y="30"/>
                  </a:lnTo>
                  <a:lnTo>
                    <a:pt x="0" y="346"/>
                  </a:lnTo>
                  <a:lnTo>
                    <a:pt x="0" y="352"/>
                  </a:lnTo>
                  <a:lnTo>
                    <a:pt x="2" y="357"/>
                  </a:lnTo>
                  <a:lnTo>
                    <a:pt x="5" y="363"/>
                  </a:lnTo>
                  <a:lnTo>
                    <a:pt x="8" y="367"/>
                  </a:lnTo>
                  <a:lnTo>
                    <a:pt x="13" y="371"/>
                  </a:lnTo>
                  <a:lnTo>
                    <a:pt x="18" y="373"/>
                  </a:lnTo>
                  <a:lnTo>
                    <a:pt x="23" y="376"/>
                  </a:lnTo>
                  <a:lnTo>
                    <a:pt x="30" y="377"/>
                  </a:lnTo>
                  <a:lnTo>
                    <a:pt x="871" y="377"/>
                  </a:lnTo>
                  <a:lnTo>
                    <a:pt x="877" y="376"/>
                  </a:lnTo>
                  <a:lnTo>
                    <a:pt x="882" y="373"/>
                  </a:lnTo>
                  <a:lnTo>
                    <a:pt x="888" y="371"/>
                  </a:lnTo>
                  <a:lnTo>
                    <a:pt x="892" y="367"/>
                  </a:lnTo>
                  <a:lnTo>
                    <a:pt x="896" y="363"/>
                  </a:lnTo>
                  <a:lnTo>
                    <a:pt x="898" y="357"/>
                  </a:lnTo>
                  <a:lnTo>
                    <a:pt x="901" y="352"/>
                  </a:lnTo>
                  <a:lnTo>
                    <a:pt x="901" y="347"/>
                  </a:lnTo>
                  <a:lnTo>
                    <a:pt x="901" y="30"/>
                  </a:lnTo>
                  <a:lnTo>
                    <a:pt x="901" y="25"/>
                  </a:lnTo>
                  <a:lnTo>
                    <a:pt x="898" y="19"/>
                  </a:lnTo>
                  <a:lnTo>
                    <a:pt x="896" y="14"/>
                  </a:lnTo>
                  <a:lnTo>
                    <a:pt x="892" y="9"/>
                  </a:lnTo>
                  <a:lnTo>
                    <a:pt x="888" y="6"/>
                  </a:lnTo>
                  <a:lnTo>
                    <a:pt x="882" y="2"/>
                  </a:lnTo>
                  <a:lnTo>
                    <a:pt x="877" y="1"/>
                  </a:lnTo>
                  <a:lnTo>
                    <a:pt x="87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3825">
              <a:extLst>
                <a:ext uri="{FF2B5EF4-FFF2-40B4-BE49-F238E27FC236}">
                  <a16:creationId xmlns:a16="http://schemas.microsoft.com/office/drawing/2014/main" id="{C98E8FDD-E535-4485-A201-F1108DB4D4F7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2475" y="795338"/>
              <a:ext cx="31750" cy="31750"/>
            </a:xfrm>
            <a:custGeom>
              <a:avLst/>
              <a:gdLst>
                <a:gd name="T0" fmla="*/ 99 w 99"/>
                <a:gd name="T1" fmla="*/ 69 h 99"/>
                <a:gd name="T2" fmla="*/ 30 w 99"/>
                <a:gd name="T3" fmla="*/ 0 h 99"/>
                <a:gd name="T4" fmla="*/ 0 w 99"/>
                <a:gd name="T5" fmla="*/ 30 h 99"/>
                <a:gd name="T6" fmla="*/ 68 w 99"/>
                <a:gd name="T7" fmla="*/ 99 h 99"/>
                <a:gd name="T8" fmla="*/ 99 w 99"/>
                <a:gd name="T9" fmla="*/ 6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9" h="99">
                  <a:moveTo>
                    <a:pt x="99" y="69"/>
                  </a:moveTo>
                  <a:lnTo>
                    <a:pt x="30" y="0"/>
                  </a:lnTo>
                  <a:lnTo>
                    <a:pt x="0" y="30"/>
                  </a:lnTo>
                  <a:lnTo>
                    <a:pt x="68" y="99"/>
                  </a:lnTo>
                  <a:lnTo>
                    <a:pt x="99" y="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3826">
              <a:extLst>
                <a:ext uri="{FF2B5EF4-FFF2-40B4-BE49-F238E27FC236}">
                  <a16:creationId xmlns:a16="http://schemas.microsoft.com/office/drawing/2014/main" id="{9CFD4842-FC61-4FFB-8A8B-CC34C90B1CDA}"/>
                </a:ext>
              </a:extLst>
            </p:cNvPr>
            <p:cNvSpPr>
              <a:spLocks/>
            </p:cNvSpPr>
            <p:nvPr/>
          </p:nvSpPr>
          <p:spPr bwMode="auto">
            <a:xfrm>
              <a:off x="8299450" y="812800"/>
              <a:ext cx="88900" cy="87313"/>
            </a:xfrm>
            <a:custGeom>
              <a:avLst/>
              <a:gdLst>
                <a:gd name="T0" fmla="*/ 280 w 280"/>
                <a:gd name="T1" fmla="*/ 68 h 279"/>
                <a:gd name="T2" fmla="*/ 210 w 280"/>
                <a:gd name="T3" fmla="*/ 0 h 279"/>
                <a:gd name="T4" fmla="*/ 0 w 280"/>
                <a:gd name="T5" fmla="*/ 210 h 279"/>
                <a:gd name="T6" fmla="*/ 69 w 280"/>
                <a:gd name="T7" fmla="*/ 279 h 279"/>
                <a:gd name="T8" fmla="*/ 280 w 280"/>
                <a:gd name="T9" fmla="*/ 68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0" h="279">
                  <a:moveTo>
                    <a:pt x="280" y="68"/>
                  </a:moveTo>
                  <a:lnTo>
                    <a:pt x="210" y="0"/>
                  </a:lnTo>
                  <a:lnTo>
                    <a:pt x="0" y="210"/>
                  </a:lnTo>
                  <a:lnTo>
                    <a:pt x="69" y="279"/>
                  </a:lnTo>
                  <a:lnTo>
                    <a:pt x="280" y="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3827">
              <a:extLst>
                <a:ext uri="{FF2B5EF4-FFF2-40B4-BE49-F238E27FC236}">
                  <a16:creationId xmlns:a16="http://schemas.microsoft.com/office/drawing/2014/main" id="{FED6D242-9FAC-4267-8B21-063CB2D68C1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83575" y="887413"/>
              <a:ext cx="28575" cy="31750"/>
            </a:xfrm>
            <a:custGeom>
              <a:avLst/>
              <a:gdLst>
                <a:gd name="T0" fmla="*/ 90 w 90"/>
                <a:gd name="T1" fmla="*/ 58 h 98"/>
                <a:gd name="T2" fmla="*/ 32 w 90"/>
                <a:gd name="T3" fmla="*/ 0 h 98"/>
                <a:gd name="T4" fmla="*/ 0 w 90"/>
                <a:gd name="T5" fmla="*/ 98 h 98"/>
                <a:gd name="T6" fmla="*/ 90 w 90"/>
                <a:gd name="T7" fmla="*/ 5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0" h="98">
                  <a:moveTo>
                    <a:pt x="90" y="58"/>
                  </a:moveTo>
                  <a:lnTo>
                    <a:pt x="32" y="0"/>
                  </a:lnTo>
                  <a:lnTo>
                    <a:pt x="0" y="98"/>
                  </a:lnTo>
                  <a:lnTo>
                    <a:pt x="90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5EF36A00-A8B2-4137-A04A-4E7EC357FC06}"/>
              </a:ext>
            </a:extLst>
          </p:cNvPr>
          <p:cNvGrpSpPr/>
          <p:nvPr/>
        </p:nvGrpSpPr>
        <p:grpSpPr>
          <a:xfrm>
            <a:off x="5905832" y="2412661"/>
            <a:ext cx="380334" cy="331736"/>
            <a:chOff x="9310688" y="1982788"/>
            <a:chExt cx="285750" cy="249238"/>
          </a:xfrm>
          <a:solidFill>
            <a:schemeClr val="accent2"/>
          </a:solidFill>
        </p:grpSpPr>
        <p:sp>
          <p:nvSpPr>
            <p:cNvPr id="62" name="Rectangle 4148">
              <a:extLst>
                <a:ext uri="{FF2B5EF4-FFF2-40B4-BE49-F238E27FC236}">
                  <a16:creationId xmlns:a16="http://schemas.microsoft.com/office/drawing/2014/main" id="{6C16212F-B8BE-46EE-99AB-B9B4E36CDE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424988" y="2135188"/>
              <a:ext cx="57150" cy="285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4149">
              <a:extLst>
                <a:ext uri="{FF2B5EF4-FFF2-40B4-BE49-F238E27FC236}">
                  <a16:creationId xmlns:a16="http://schemas.microsoft.com/office/drawing/2014/main" id="{17FDF6EC-4164-42FA-828A-BD3BD1A441D9}"/>
                </a:ext>
              </a:extLst>
            </p:cNvPr>
            <p:cNvSpPr>
              <a:spLocks/>
            </p:cNvSpPr>
            <p:nvPr/>
          </p:nvSpPr>
          <p:spPr bwMode="auto">
            <a:xfrm>
              <a:off x="9329738" y="2163763"/>
              <a:ext cx="247650" cy="68263"/>
            </a:xfrm>
            <a:custGeom>
              <a:avLst/>
              <a:gdLst>
                <a:gd name="T0" fmla="*/ 510 w 781"/>
                <a:gd name="T1" fmla="*/ 15 h 211"/>
                <a:gd name="T2" fmla="*/ 510 w 781"/>
                <a:gd name="T3" fmla="*/ 19 h 211"/>
                <a:gd name="T4" fmla="*/ 509 w 781"/>
                <a:gd name="T5" fmla="*/ 22 h 211"/>
                <a:gd name="T6" fmla="*/ 508 w 781"/>
                <a:gd name="T7" fmla="*/ 24 h 211"/>
                <a:gd name="T8" fmla="*/ 506 w 781"/>
                <a:gd name="T9" fmla="*/ 26 h 211"/>
                <a:gd name="T10" fmla="*/ 504 w 781"/>
                <a:gd name="T11" fmla="*/ 28 h 211"/>
                <a:gd name="T12" fmla="*/ 502 w 781"/>
                <a:gd name="T13" fmla="*/ 29 h 211"/>
                <a:gd name="T14" fmla="*/ 498 w 781"/>
                <a:gd name="T15" fmla="*/ 30 h 211"/>
                <a:gd name="T16" fmla="*/ 495 w 781"/>
                <a:gd name="T17" fmla="*/ 30 h 211"/>
                <a:gd name="T18" fmla="*/ 285 w 781"/>
                <a:gd name="T19" fmla="*/ 30 h 211"/>
                <a:gd name="T20" fmla="*/ 282 w 781"/>
                <a:gd name="T21" fmla="*/ 30 h 211"/>
                <a:gd name="T22" fmla="*/ 280 w 781"/>
                <a:gd name="T23" fmla="*/ 29 h 211"/>
                <a:gd name="T24" fmla="*/ 276 w 781"/>
                <a:gd name="T25" fmla="*/ 28 h 211"/>
                <a:gd name="T26" fmla="*/ 274 w 781"/>
                <a:gd name="T27" fmla="*/ 26 h 211"/>
                <a:gd name="T28" fmla="*/ 272 w 781"/>
                <a:gd name="T29" fmla="*/ 24 h 211"/>
                <a:gd name="T30" fmla="*/ 271 w 781"/>
                <a:gd name="T31" fmla="*/ 22 h 211"/>
                <a:gd name="T32" fmla="*/ 270 w 781"/>
                <a:gd name="T33" fmla="*/ 19 h 211"/>
                <a:gd name="T34" fmla="*/ 270 w 781"/>
                <a:gd name="T35" fmla="*/ 15 h 211"/>
                <a:gd name="T36" fmla="*/ 270 w 781"/>
                <a:gd name="T37" fmla="*/ 0 h 211"/>
                <a:gd name="T38" fmla="*/ 0 w 781"/>
                <a:gd name="T39" fmla="*/ 0 h 211"/>
                <a:gd name="T40" fmla="*/ 0 w 781"/>
                <a:gd name="T41" fmla="*/ 196 h 211"/>
                <a:gd name="T42" fmla="*/ 0 w 781"/>
                <a:gd name="T43" fmla="*/ 199 h 211"/>
                <a:gd name="T44" fmla="*/ 1 w 781"/>
                <a:gd name="T45" fmla="*/ 202 h 211"/>
                <a:gd name="T46" fmla="*/ 2 w 781"/>
                <a:gd name="T47" fmla="*/ 204 h 211"/>
                <a:gd name="T48" fmla="*/ 4 w 781"/>
                <a:gd name="T49" fmla="*/ 206 h 211"/>
                <a:gd name="T50" fmla="*/ 6 w 781"/>
                <a:gd name="T51" fmla="*/ 208 h 211"/>
                <a:gd name="T52" fmla="*/ 9 w 781"/>
                <a:gd name="T53" fmla="*/ 209 h 211"/>
                <a:gd name="T54" fmla="*/ 12 w 781"/>
                <a:gd name="T55" fmla="*/ 210 h 211"/>
                <a:gd name="T56" fmla="*/ 15 w 781"/>
                <a:gd name="T57" fmla="*/ 211 h 211"/>
                <a:gd name="T58" fmla="*/ 766 w 781"/>
                <a:gd name="T59" fmla="*/ 211 h 211"/>
                <a:gd name="T60" fmla="*/ 768 w 781"/>
                <a:gd name="T61" fmla="*/ 210 h 211"/>
                <a:gd name="T62" fmla="*/ 772 w 781"/>
                <a:gd name="T63" fmla="*/ 209 h 211"/>
                <a:gd name="T64" fmla="*/ 774 w 781"/>
                <a:gd name="T65" fmla="*/ 208 h 211"/>
                <a:gd name="T66" fmla="*/ 776 w 781"/>
                <a:gd name="T67" fmla="*/ 206 h 211"/>
                <a:gd name="T68" fmla="*/ 778 w 781"/>
                <a:gd name="T69" fmla="*/ 204 h 211"/>
                <a:gd name="T70" fmla="*/ 780 w 781"/>
                <a:gd name="T71" fmla="*/ 202 h 211"/>
                <a:gd name="T72" fmla="*/ 780 w 781"/>
                <a:gd name="T73" fmla="*/ 199 h 211"/>
                <a:gd name="T74" fmla="*/ 781 w 781"/>
                <a:gd name="T75" fmla="*/ 196 h 211"/>
                <a:gd name="T76" fmla="*/ 781 w 781"/>
                <a:gd name="T77" fmla="*/ 0 h 211"/>
                <a:gd name="T78" fmla="*/ 510 w 781"/>
                <a:gd name="T79" fmla="*/ 0 h 211"/>
                <a:gd name="T80" fmla="*/ 510 w 781"/>
                <a:gd name="T81" fmla="*/ 15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781" h="211">
                  <a:moveTo>
                    <a:pt x="510" y="15"/>
                  </a:moveTo>
                  <a:lnTo>
                    <a:pt x="510" y="19"/>
                  </a:lnTo>
                  <a:lnTo>
                    <a:pt x="509" y="22"/>
                  </a:lnTo>
                  <a:lnTo>
                    <a:pt x="508" y="24"/>
                  </a:lnTo>
                  <a:lnTo>
                    <a:pt x="506" y="26"/>
                  </a:lnTo>
                  <a:lnTo>
                    <a:pt x="504" y="28"/>
                  </a:lnTo>
                  <a:lnTo>
                    <a:pt x="502" y="29"/>
                  </a:lnTo>
                  <a:lnTo>
                    <a:pt x="498" y="30"/>
                  </a:lnTo>
                  <a:lnTo>
                    <a:pt x="495" y="30"/>
                  </a:lnTo>
                  <a:lnTo>
                    <a:pt x="285" y="30"/>
                  </a:lnTo>
                  <a:lnTo>
                    <a:pt x="282" y="30"/>
                  </a:lnTo>
                  <a:lnTo>
                    <a:pt x="280" y="29"/>
                  </a:lnTo>
                  <a:lnTo>
                    <a:pt x="276" y="28"/>
                  </a:lnTo>
                  <a:lnTo>
                    <a:pt x="274" y="26"/>
                  </a:lnTo>
                  <a:lnTo>
                    <a:pt x="272" y="24"/>
                  </a:lnTo>
                  <a:lnTo>
                    <a:pt x="271" y="22"/>
                  </a:lnTo>
                  <a:lnTo>
                    <a:pt x="270" y="19"/>
                  </a:lnTo>
                  <a:lnTo>
                    <a:pt x="270" y="15"/>
                  </a:lnTo>
                  <a:lnTo>
                    <a:pt x="270" y="0"/>
                  </a:lnTo>
                  <a:lnTo>
                    <a:pt x="0" y="0"/>
                  </a:lnTo>
                  <a:lnTo>
                    <a:pt x="0" y="196"/>
                  </a:lnTo>
                  <a:lnTo>
                    <a:pt x="0" y="199"/>
                  </a:lnTo>
                  <a:lnTo>
                    <a:pt x="1" y="202"/>
                  </a:lnTo>
                  <a:lnTo>
                    <a:pt x="2" y="204"/>
                  </a:lnTo>
                  <a:lnTo>
                    <a:pt x="4" y="206"/>
                  </a:lnTo>
                  <a:lnTo>
                    <a:pt x="6" y="208"/>
                  </a:lnTo>
                  <a:lnTo>
                    <a:pt x="9" y="209"/>
                  </a:lnTo>
                  <a:lnTo>
                    <a:pt x="12" y="210"/>
                  </a:lnTo>
                  <a:lnTo>
                    <a:pt x="15" y="211"/>
                  </a:lnTo>
                  <a:lnTo>
                    <a:pt x="766" y="211"/>
                  </a:lnTo>
                  <a:lnTo>
                    <a:pt x="768" y="210"/>
                  </a:lnTo>
                  <a:lnTo>
                    <a:pt x="772" y="209"/>
                  </a:lnTo>
                  <a:lnTo>
                    <a:pt x="774" y="208"/>
                  </a:lnTo>
                  <a:lnTo>
                    <a:pt x="776" y="206"/>
                  </a:lnTo>
                  <a:lnTo>
                    <a:pt x="778" y="204"/>
                  </a:lnTo>
                  <a:lnTo>
                    <a:pt x="780" y="202"/>
                  </a:lnTo>
                  <a:lnTo>
                    <a:pt x="780" y="199"/>
                  </a:lnTo>
                  <a:lnTo>
                    <a:pt x="781" y="196"/>
                  </a:lnTo>
                  <a:lnTo>
                    <a:pt x="781" y="0"/>
                  </a:lnTo>
                  <a:lnTo>
                    <a:pt x="510" y="0"/>
                  </a:lnTo>
                  <a:lnTo>
                    <a:pt x="510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4150">
              <a:extLst>
                <a:ext uri="{FF2B5EF4-FFF2-40B4-BE49-F238E27FC236}">
                  <a16:creationId xmlns:a16="http://schemas.microsoft.com/office/drawing/2014/main" id="{1E053F8C-98D3-4C94-8487-7B8A1BCF0E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310688" y="1982788"/>
              <a:ext cx="285750" cy="171450"/>
            </a:xfrm>
            <a:custGeom>
              <a:avLst/>
              <a:gdLst>
                <a:gd name="T0" fmla="*/ 300 w 901"/>
                <a:gd name="T1" fmla="*/ 135 h 540"/>
                <a:gd name="T2" fmla="*/ 304 w 901"/>
                <a:gd name="T3" fmla="*/ 104 h 540"/>
                <a:gd name="T4" fmla="*/ 316 w 901"/>
                <a:gd name="T5" fmla="*/ 76 h 540"/>
                <a:gd name="T6" fmla="*/ 334 w 901"/>
                <a:gd name="T7" fmla="*/ 54 h 540"/>
                <a:gd name="T8" fmla="*/ 357 w 901"/>
                <a:gd name="T9" fmla="*/ 38 h 540"/>
                <a:gd name="T10" fmla="*/ 384 w 901"/>
                <a:gd name="T11" fmla="*/ 30 h 540"/>
                <a:gd name="T12" fmla="*/ 517 w 901"/>
                <a:gd name="T13" fmla="*/ 30 h 540"/>
                <a:gd name="T14" fmla="*/ 543 w 901"/>
                <a:gd name="T15" fmla="*/ 38 h 540"/>
                <a:gd name="T16" fmla="*/ 567 w 901"/>
                <a:gd name="T17" fmla="*/ 54 h 540"/>
                <a:gd name="T18" fmla="*/ 584 w 901"/>
                <a:gd name="T19" fmla="*/ 76 h 540"/>
                <a:gd name="T20" fmla="*/ 596 w 901"/>
                <a:gd name="T21" fmla="*/ 104 h 540"/>
                <a:gd name="T22" fmla="*/ 600 w 901"/>
                <a:gd name="T23" fmla="*/ 135 h 540"/>
                <a:gd name="T24" fmla="*/ 813 w 901"/>
                <a:gd name="T25" fmla="*/ 150 h 540"/>
                <a:gd name="T26" fmla="*/ 630 w 901"/>
                <a:gd name="T27" fmla="*/ 135 h 540"/>
                <a:gd name="T28" fmla="*/ 625 w 901"/>
                <a:gd name="T29" fmla="*/ 94 h 540"/>
                <a:gd name="T30" fmla="*/ 610 w 901"/>
                <a:gd name="T31" fmla="*/ 59 h 540"/>
                <a:gd name="T32" fmla="*/ 585 w 901"/>
                <a:gd name="T33" fmla="*/ 30 h 540"/>
                <a:gd name="T34" fmla="*/ 555 w 901"/>
                <a:gd name="T35" fmla="*/ 11 h 540"/>
                <a:gd name="T36" fmla="*/ 520 w 901"/>
                <a:gd name="T37" fmla="*/ 0 h 540"/>
                <a:gd name="T38" fmla="*/ 380 w 901"/>
                <a:gd name="T39" fmla="*/ 0 h 540"/>
                <a:gd name="T40" fmla="*/ 345 w 901"/>
                <a:gd name="T41" fmla="*/ 11 h 540"/>
                <a:gd name="T42" fmla="*/ 315 w 901"/>
                <a:gd name="T43" fmla="*/ 30 h 540"/>
                <a:gd name="T44" fmla="*/ 291 w 901"/>
                <a:gd name="T45" fmla="*/ 59 h 540"/>
                <a:gd name="T46" fmla="*/ 275 w 901"/>
                <a:gd name="T47" fmla="*/ 94 h 540"/>
                <a:gd name="T48" fmla="*/ 270 w 901"/>
                <a:gd name="T49" fmla="*/ 135 h 540"/>
                <a:gd name="T50" fmla="*/ 88 w 901"/>
                <a:gd name="T51" fmla="*/ 150 h 540"/>
                <a:gd name="T52" fmla="*/ 66 w 901"/>
                <a:gd name="T53" fmla="*/ 160 h 540"/>
                <a:gd name="T54" fmla="*/ 42 w 901"/>
                <a:gd name="T55" fmla="*/ 176 h 540"/>
                <a:gd name="T56" fmla="*/ 22 w 901"/>
                <a:gd name="T57" fmla="*/ 195 h 540"/>
                <a:gd name="T58" fmla="*/ 8 w 901"/>
                <a:gd name="T59" fmla="*/ 217 h 540"/>
                <a:gd name="T60" fmla="*/ 1 w 901"/>
                <a:gd name="T61" fmla="*/ 240 h 540"/>
                <a:gd name="T62" fmla="*/ 0 w 901"/>
                <a:gd name="T63" fmla="*/ 540 h 540"/>
                <a:gd name="T64" fmla="*/ 330 w 901"/>
                <a:gd name="T65" fmla="*/ 540 h 540"/>
                <a:gd name="T66" fmla="*/ 331 w 901"/>
                <a:gd name="T67" fmla="*/ 460 h 540"/>
                <a:gd name="T68" fmla="*/ 336 w 901"/>
                <a:gd name="T69" fmla="*/ 453 h 540"/>
                <a:gd name="T70" fmla="*/ 345 w 901"/>
                <a:gd name="T71" fmla="*/ 450 h 540"/>
                <a:gd name="T72" fmla="*/ 562 w 901"/>
                <a:gd name="T73" fmla="*/ 451 h 540"/>
                <a:gd name="T74" fmla="*/ 568 w 901"/>
                <a:gd name="T75" fmla="*/ 457 h 540"/>
                <a:gd name="T76" fmla="*/ 570 w 901"/>
                <a:gd name="T77" fmla="*/ 465 h 540"/>
                <a:gd name="T78" fmla="*/ 871 w 901"/>
                <a:gd name="T79" fmla="*/ 540 h 540"/>
                <a:gd name="T80" fmla="*/ 900 w 901"/>
                <a:gd name="T81" fmla="*/ 249 h 540"/>
                <a:gd name="T82" fmla="*/ 895 w 901"/>
                <a:gd name="T83" fmla="*/ 224 h 540"/>
                <a:gd name="T84" fmla="*/ 883 w 901"/>
                <a:gd name="T85" fmla="*/ 202 h 540"/>
                <a:gd name="T86" fmla="*/ 866 w 901"/>
                <a:gd name="T87" fmla="*/ 181 h 540"/>
                <a:gd name="T88" fmla="*/ 843 w 901"/>
                <a:gd name="T89" fmla="*/ 164 h 540"/>
                <a:gd name="T90" fmla="*/ 816 w 901"/>
                <a:gd name="T91" fmla="*/ 151 h 5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901" h="540">
                  <a:moveTo>
                    <a:pt x="600" y="150"/>
                  </a:moveTo>
                  <a:lnTo>
                    <a:pt x="300" y="150"/>
                  </a:lnTo>
                  <a:lnTo>
                    <a:pt x="300" y="135"/>
                  </a:lnTo>
                  <a:lnTo>
                    <a:pt x="300" y="124"/>
                  </a:lnTo>
                  <a:lnTo>
                    <a:pt x="302" y="114"/>
                  </a:lnTo>
                  <a:lnTo>
                    <a:pt x="304" y="104"/>
                  </a:lnTo>
                  <a:lnTo>
                    <a:pt x="308" y="94"/>
                  </a:lnTo>
                  <a:lnTo>
                    <a:pt x="311" y="85"/>
                  </a:lnTo>
                  <a:lnTo>
                    <a:pt x="316" y="76"/>
                  </a:lnTo>
                  <a:lnTo>
                    <a:pt x="321" y="68"/>
                  </a:lnTo>
                  <a:lnTo>
                    <a:pt x="327" y="60"/>
                  </a:lnTo>
                  <a:lnTo>
                    <a:pt x="334" y="54"/>
                  </a:lnTo>
                  <a:lnTo>
                    <a:pt x="341" y="47"/>
                  </a:lnTo>
                  <a:lnTo>
                    <a:pt x="349" y="42"/>
                  </a:lnTo>
                  <a:lnTo>
                    <a:pt x="357" y="38"/>
                  </a:lnTo>
                  <a:lnTo>
                    <a:pt x="365" y="34"/>
                  </a:lnTo>
                  <a:lnTo>
                    <a:pt x="375" y="32"/>
                  </a:lnTo>
                  <a:lnTo>
                    <a:pt x="384" y="30"/>
                  </a:lnTo>
                  <a:lnTo>
                    <a:pt x="393" y="30"/>
                  </a:lnTo>
                  <a:lnTo>
                    <a:pt x="507" y="30"/>
                  </a:lnTo>
                  <a:lnTo>
                    <a:pt x="517" y="30"/>
                  </a:lnTo>
                  <a:lnTo>
                    <a:pt x="526" y="32"/>
                  </a:lnTo>
                  <a:lnTo>
                    <a:pt x="535" y="34"/>
                  </a:lnTo>
                  <a:lnTo>
                    <a:pt x="543" y="38"/>
                  </a:lnTo>
                  <a:lnTo>
                    <a:pt x="552" y="42"/>
                  </a:lnTo>
                  <a:lnTo>
                    <a:pt x="559" y="47"/>
                  </a:lnTo>
                  <a:lnTo>
                    <a:pt x="567" y="54"/>
                  </a:lnTo>
                  <a:lnTo>
                    <a:pt x="573" y="60"/>
                  </a:lnTo>
                  <a:lnTo>
                    <a:pt x="579" y="68"/>
                  </a:lnTo>
                  <a:lnTo>
                    <a:pt x="584" y="76"/>
                  </a:lnTo>
                  <a:lnTo>
                    <a:pt x="589" y="85"/>
                  </a:lnTo>
                  <a:lnTo>
                    <a:pt x="593" y="94"/>
                  </a:lnTo>
                  <a:lnTo>
                    <a:pt x="596" y="104"/>
                  </a:lnTo>
                  <a:lnTo>
                    <a:pt x="599" y="114"/>
                  </a:lnTo>
                  <a:lnTo>
                    <a:pt x="600" y="124"/>
                  </a:lnTo>
                  <a:lnTo>
                    <a:pt x="600" y="135"/>
                  </a:lnTo>
                  <a:lnTo>
                    <a:pt x="600" y="150"/>
                  </a:lnTo>
                  <a:close/>
                  <a:moveTo>
                    <a:pt x="816" y="151"/>
                  </a:moveTo>
                  <a:lnTo>
                    <a:pt x="813" y="150"/>
                  </a:lnTo>
                  <a:lnTo>
                    <a:pt x="810" y="150"/>
                  </a:lnTo>
                  <a:lnTo>
                    <a:pt x="630" y="150"/>
                  </a:lnTo>
                  <a:lnTo>
                    <a:pt x="630" y="135"/>
                  </a:lnTo>
                  <a:lnTo>
                    <a:pt x="630" y="121"/>
                  </a:lnTo>
                  <a:lnTo>
                    <a:pt x="628" y="107"/>
                  </a:lnTo>
                  <a:lnTo>
                    <a:pt x="625" y="94"/>
                  </a:lnTo>
                  <a:lnTo>
                    <a:pt x="621" y="83"/>
                  </a:lnTo>
                  <a:lnTo>
                    <a:pt x="615" y="71"/>
                  </a:lnTo>
                  <a:lnTo>
                    <a:pt x="610" y="59"/>
                  </a:lnTo>
                  <a:lnTo>
                    <a:pt x="602" y="49"/>
                  </a:lnTo>
                  <a:lnTo>
                    <a:pt x="595" y="40"/>
                  </a:lnTo>
                  <a:lnTo>
                    <a:pt x="585" y="30"/>
                  </a:lnTo>
                  <a:lnTo>
                    <a:pt x="576" y="23"/>
                  </a:lnTo>
                  <a:lnTo>
                    <a:pt x="566" y="16"/>
                  </a:lnTo>
                  <a:lnTo>
                    <a:pt x="555" y="11"/>
                  </a:lnTo>
                  <a:lnTo>
                    <a:pt x="543" y="5"/>
                  </a:lnTo>
                  <a:lnTo>
                    <a:pt x="532" y="2"/>
                  </a:lnTo>
                  <a:lnTo>
                    <a:pt x="520" y="0"/>
                  </a:lnTo>
                  <a:lnTo>
                    <a:pt x="507" y="0"/>
                  </a:lnTo>
                  <a:lnTo>
                    <a:pt x="393" y="0"/>
                  </a:lnTo>
                  <a:lnTo>
                    <a:pt x="380" y="0"/>
                  </a:lnTo>
                  <a:lnTo>
                    <a:pt x="369" y="2"/>
                  </a:lnTo>
                  <a:lnTo>
                    <a:pt x="357" y="5"/>
                  </a:lnTo>
                  <a:lnTo>
                    <a:pt x="345" y="11"/>
                  </a:lnTo>
                  <a:lnTo>
                    <a:pt x="334" y="16"/>
                  </a:lnTo>
                  <a:lnTo>
                    <a:pt x="325" y="23"/>
                  </a:lnTo>
                  <a:lnTo>
                    <a:pt x="315" y="30"/>
                  </a:lnTo>
                  <a:lnTo>
                    <a:pt x="306" y="40"/>
                  </a:lnTo>
                  <a:lnTo>
                    <a:pt x="298" y="49"/>
                  </a:lnTo>
                  <a:lnTo>
                    <a:pt x="291" y="59"/>
                  </a:lnTo>
                  <a:lnTo>
                    <a:pt x="285" y="71"/>
                  </a:lnTo>
                  <a:lnTo>
                    <a:pt x="280" y="83"/>
                  </a:lnTo>
                  <a:lnTo>
                    <a:pt x="275" y="94"/>
                  </a:lnTo>
                  <a:lnTo>
                    <a:pt x="272" y="107"/>
                  </a:lnTo>
                  <a:lnTo>
                    <a:pt x="270" y="121"/>
                  </a:lnTo>
                  <a:lnTo>
                    <a:pt x="270" y="135"/>
                  </a:lnTo>
                  <a:lnTo>
                    <a:pt x="270" y="150"/>
                  </a:lnTo>
                  <a:lnTo>
                    <a:pt x="90" y="150"/>
                  </a:lnTo>
                  <a:lnTo>
                    <a:pt x="88" y="150"/>
                  </a:lnTo>
                  <a:lnTo>
                    <a:pt x="85" y="151"/>
                  </a:lnTo>
                  <a:lnTo>
                    <a:pt x="75" y="155"/>
                  </a:lnTo>
                  <a:lnTo>
                    <a:pt x="66" y="160"/>
                  </a:lnTo>
                  <a:lnTo>
                    <a:pt x="58" y="164"/>
                  </a:lnTo>
                  <a:lnTo>
                    <a:pt x="49" y="169"/>
                  </a:lnTo>
                  <a:lnTo>
                    <a:pt x="42" y="176"/>
                  </a:lnTo>
                  <a:lnTo>
                    <a:pt x="34" y="181"/>
                  </a:lnTo>
                  <a:lnTo>
                    <a:pt x="28" y="188"/>
                  </a:lnTo>
                  <a:lnTo>
                    <a:pt x="22" y="195"/>
                  </a:lnTo>
                  <a:lnTo>
                    <a:pt x="17" y="202"/>
                  </a:lnTo>
                  <a:lnTo>
                    <a:pt x="13" y="209"/>
                  </a:lnTo>
                  <a:lnTo>
                    <a:pt x="8" y="217"/>
                  </a:lnTo>
                  <a:lnTo>
                    <a:pt x="5" y="224"/>
                  </a:lnTo>
                  <a:lnTo>
                    <a:pt x="3" y="233"/>
                  </a:lnTo>
                  <a:lnTo>
                    <a:pt x="1" y="240"/>
                  </a:lnTo>
                  <a:lnTo>
                    <a:pt x="0" y="249"/>
                  </a:lnTo>
                  <a:lnTo>
                    <a:pt x="0" y="257"/>
                  </a:lnTo>
                  <a:lnTo>
                    <a:pt x="0" y="540"/>
                  </a:lnTo>
                  <a:lnTo>
                    <a:pt x="30" y="540"/>
                  </a:lnTo>
                  <a:lnTo>
                    <a:pt x="75" y="540"/>
                  </a:lnTo>
                  <a:lnTo>
                    <a:pt x="330" y="540"/>
                  </a:lnTo>
                  <a:lnTo>
                    <a:pt x="330" y="465"/>
                  </a:lnTo>
                  <a:lnTo>
                    <a:pt x="330" y="462"/>
                  </a:lnTo>
                  <a:lnTo>
                    <a:pt x="331" y="460"/>
                  </a:lnTo>
                  <a:lnTo>
                    <a:pt x="332" y="457"/>
                  </a:lnTo>
                  <a:lnTo>
                    <a:pt x="334" y="455"/>
                  </a:lnTo>
                  <a:lnTo>
                    <a:pt x="336" y="453"/>
                  </a:lnTo>
                  <a:lnTo>
                    <a:pt x="340" y="451"/>
                  </a:lnTo>
                  <a:lnTo>
                    <a:pt x="342" y="450"/>
                  </a:lnTo>
                  <a:lnTo>
                    <a:pt x="345" y="450"/>
                  </a:lnTo>
                  <a:lnTo>
                    <a:pt x="555" y="450"/>
                  </a:lnTo>
                  <a:lnTo>
                    <a:pt x="558" y="450"/>
                  </a:lnTo>
                  <a:lnTo>
                    <a:pt x="562" y="451"/>
                  </a:lnTo>
                  <a:lnTo>
                    <a:pt x="564" y="453"/>
                  </a:lnTo>
                  <a:lnTo>
                    <a:pt x="566" y="455"/>
                  </a:lnTo>
                  <a:lnTo>
                    <a:pt x="568" y="457"/>
                  </a:lnTo>
                  <a:lnTo>
                    <a:pt x="569" y="460"/>
                  </a:lnTo>
                  <a:lnTo>
                    <a:pt x="570" y="462"/>
                  </a:lnTo>
                  <a:lnTo>
                    <a:pt x="570" y="465"/>
                  </a:lnTo>
                  <a:lnTo>
                    <a:pt x="570" y="540"/>
                  </a:lnTo>
                  <a:lnTo>
                    <a:pt x="826" y="540"/>
                  </a:lnTo>
                  <a:lnTo>
                    <a:pt x="871" y="540"/>
                  </a:lnTo>
                  <a:lnTo>
                    <a:pt x="901" y="540"/>
                  </a:lnTo>
                  <a:lnTo>
                    <a:pt x="901" y="257"/>
                  </a:lnTo>
                  <a:lnTo>
                    <a:pt x="900" y="249"/>
                  </a:lnTo>
                  <a:lnTo>
                    <a:pt x="899" y="240"/>
                  </a:lnTo>
                  <a:lnTo>
                    <a:pt x="898" y="233"/>
                  </a:lnTo>
                  <a:lnTo>
                    <a:pt x="895" y="224"/>
                  </a:lnTo>
                  <a:lnTo>
                    <a:pt x="892" y="217"/>
                  </a:lnTo>
                  <a:lnTo>
                    <a:pt x="887" y="209"/>
                  </a:lnTo>
                  <a:lnTo>
                    <a:pt x="883" y="202"/>
                  </a:lnTo>
                  <a:lnTo>
                    <a:pt x="878" y="195"/>
                  </a:lnTo>
                  <a:lnTo>
                    <a:pt x="872" y="188"/>
                  </a:lnTo>
                  <a:lnTo>
                    <a:pt x="866" y="181"/>
                  </a:lnTo>
                  <a:lnTo>
                    <a:pt x="858" y="176"/>
                  </a:lnTo>
                  <a:lnTo>
                    <a:pt x="851" y="169"/>
                  </a:lnTo>
                  <a:lnTo>
                    <a:pt x="843" y="164"/>
                  </a:lnTo>
                  <a:lnTo>
                    <a:pt x="835" y="160"/>
                  </a:lnTo>
                  <a:lnTo>
                    <a:pt x="825" y="155"/>
                  </a:lnTo>
                  <a:lnTo>
                    <a:pt x="816" y="1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65" name="Freeform 3755">
            <a:extLst>
              <a:ext uri="{FF2B5EF4-FFF2-40B4-BE49-F238E27FC236}">
                <a16:creationId xmlns:a16="http://schemas.microsoft.com/office/drawing/2014/main" id="{F3406E15-18DD-4BB6-AF54-2D9589A71E5B}"/>
              </a:ext>
            </a:extLst>
          </p:cNvPr>
          <p:cNvSpPr>
            <a:spLocks noEditPoints="1"/>
          </p:cNvSpPr>
          <p:nvPr/>
        </p:nvSpPr>
        <p:spPr bwMode="auto">
          <a:xfrm>
            <a:off x="8321508" y="1903750"/>
            <a:ext cx="266234" cy="380334"/>
          </a:xfrm>
          <a:custGeom>
            <a:avLst/>
            <a:gdLst>
              <a:gd name="T0" fmla="*/ 120 w 632"/>
              <a:gd name="T1" fmla="*/ 242 h 902"/>
              <a:gd name="T2" fmla="*/ 129 w 632"/>
              <a:gd name="T3" fmla="*/ 184 h 902"/>
              <a:gd name="T4" fmla="*/ 151 w 632"/>
              <a:gd name="T5" fmla="*/ 130 h 902"/>
              <a:gd name="T6" fmla="*/ 188 w 632"/>
              <a:gd name="T7" fmla="*/ 84 h 902"/>
              <a:gd name="T8" fmla="*/ 236 w 632"/>
              <a:gd name="T9" fmla="*/ 50 h 902"/>
              <a:gd name="T10" fmla="*/ 264 w 632"/>
              <a:gd name="T11" fmla="*/ 38 h 902"/>
              <a:gd name="T12" fmla="*/ 294 w 632"/>
              <a:gd name="T13" fmla="*/ 32 h 902"/>
              <a:gd name="T14" fmla="*/ 326 w 632"/>
              <a:gd name="T15" fmla="*/ 31 h 902"/>
              <a:gd name="T16" fmla="*/ 357 w 632"/>
              <a:gd name="T17" fmla="*/ 36 h 902"/>
              <a:gd name="T18" fmla="*/ 386 w 632"/>
              <a:gd name="T19" fmla="*/ 45 h 902"/>
              <a:gd name="T20" fmla="*/ 429 w 632"/>
              <a:gd name="T21" fmla="*/ 70 h 902"/>
              <a:gd name="T22" fmla="*/ 470 w 632"/>
              <a:gd name="T23" fmla="*/ 113 h 902"/>
              <a:gd name="T24" fmla="*/ 497 w 632"/>
              <a:gd name="T25" fmla="*/ 165 h 902"/>
              <a:gd name="T26" fmla="*/ 511 w 632"/>
              <a:gd name="T27" fmla="*/ 222 h 902"/>
              <a:gd name="T28" fmla="*/ 330 w 632"/>
              <a:gd name="T29" fmla="*/ 597 h 902"/>
              <a:gd name="T30" fmla="*/ 329 w 632"/>
              <a:gd name="T31" fmla="*/ 706 h 902"/>
              <a:gd name="T32" fmla="*/ 324 w 632"/>
              <a:gd name="T33" fmla="*/ 712 h 902"/>
              <a:gd name="T34" fmla="*/ 315 w 632"/>
              <a:gd name="T35" fmla="*/ 715 h 902"/>
              <a:gd name="T36" fmla="*/ 307 w 632"/>
              <a:gd name="T37" fmla="*/ 712 h 902"/>
              <a:gd name="T38" fmla="*/ 302 w 632"/>
              <a:gd name="T39" fmla="*/ 706 h 902"/>
              <a:gd name="T40" fmla="*/ 300 w 632"/>
              <a:gd name="T41" fmla="*/ 597 h 902"/>
              <a:gd name="T42" fmla="*/ 286 w 632"/>
              <a:gd name="T43" fmla="*/ 579 h 902"/>
              <a:gd name="T44" fmla="*/ 289 w 632"/>
              <a:gd name="T45" fmla="*/ 560 h 902"/>
              <a:gd name="T46" fmla="*/ 299 w 632"/>
              <a:gd name="T47" fmla="*/ 547 h 902"/>
              <a:gd name="T48" fmla="*/ 315 w 632"/>
              <a:gd name="T49" fmla="*/ 542 h 902"/>
              <a:gd name="T50" fmla="*/ 333 w 632"/>
              <a:gd name="T51" fmla="*/ 547 h 902"/>
              <a:gd name="T52" fmla="*/ 343 w 632"/>
              <a:gd name="T53" fmla="*/ 560 h 902"/>
              <a:gd name="T54" fmla="*/ 344 w 632"/>
              <a:gd name="T55" fmla="*/ 579 h 902"/>
              <a:gd name="T56" fmla="*/ 330 w 632"/>
              <a:gd name="T57" fmla="*/ 597 h 902"/>
              <a:gd name="T58" fmla="*/ 541 w 632"/>
              <a:gd name="T59" fmla="*/ 242 h 902"/>
              <a:gd name="T60" fmla="*/ 532 w 632"/>
              <a:gd name="T61" fmla="*/ 176 h 902"/>
              <a:gd name="T62" fmla="*/ 505 w 632"/>
              <a:gd name="T63" fmla="*/ 114 h 902"/>
              <a:gd name="T64" fmla="*/ 471 w 632"/>
              <a:gd name="T65" fmla="*/ 69 h 902"/>
              <a:gd name="T66" fmla="*/ 446 w 632"/>
              <a:gd name="T67" fmla="*/ 46 h 902"/>
              <a:gd name="T68" fmla="*/ 418 w 632"/>
              <a:gd name="T69" fmla="*/ 27 h 902"/>
              <a:gd name="T70" fmla="*/ 386 w 632"/>
              <a:gd name="T71" fmla="*/ 13 h 902"/>
              <a:gd name="T72" fmla="*/ 353 w 632"/>
              <a:gd name="T73" fmla="*/ 3 h 902"/>
              <a:gd name="T74" fmla="*/ 315 w 632"/>
              <a:gd name="T75" fmla="*/ 0 h 902"/>
              <a:gd name="T76" fmla="*/ 279 w 632"/>
              <a:gd name="T77" fmla="*/ 3 h 902"/>
              <a:gd name="T78" fmla="*/ 245 w 632"/>
              <a:gd name="T79" fmla="*/ 13 h 902"/>
              <a:gd name="T80" fmla="*/ 214 w 632"/>
              <a:gd name="T81" fmla="*/ 27 h 902"/>
              <a:gd name="T82" fmla="*/ 186 w 632"/>
              <a:gd name="T83" fmla="*/ 46 h 902"/>
              <a:gd name="T84" fmla="*/ 160 w 632"/>
              <a:gd name="T85" fmla="*/ 69 h 902"/>
              <a:gd name="T86" fmla="*/ 127 w 632"/>
              <a:gd name="T87" fmla="*/ 114 h 902"/>
              <a:gd name="T88" fmla="*/ 100 w 632"/>
              <a:gd name="T89" fmla="*/ 176 h 902"/>
              <a:gd name="T90" fmla="*/ 90 w 632"/>
              <a:gd name="T91" fmla="*/ 242 h 902"/>
              <a:gd name="T92" fmla="*/ 0 w 632"/>
              <a:gd name="T93" fmla="*/ 902 h 902"/>
              <a:gd name="T94" fmla="*/ 541 w 632"/>
              <a:gd name="T95" fmla="*/ 362 h 9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632" h="902">
                <a:moveTo>
                  <a:pt x="511" y="362"/>
                </a:moveTo>
                <a:lnTo>
                  <a:pt x="120" y="362"/>
                </a:lnTo>
                <a:lnTo>
                  <a:pt x="120" y="242"/>
                </a:lnTo>
                <a:lnTo>
                  <a:pt x="121" y="222"/>
                </a:lnTo>
                <a:lnTo>
                  <a:pt x="125" y="203"/>
                </a:lnTo>
                <a:lnTo>
                  <a:pt x="129" y="184"/>
                </a:lnTo>
                <a:lnTo>
                  <a:pt x="134" y="165"/>
                </a:lnTo>
                <a:lnTo>
                  <a:pt x="142" y="147"/>
                </a:lnTo>
                <a:lnTo>
                  <a:pt x="151" y="130"/>
                </a:lnTo>
                <a:lnTo>
                  <a:pt x="162" y="113"/>
                </a:lnTo>
                <a:lnTo>
                  <a:pt x="174" y="98"/>
                </a:lnTo>
                <a:lnTo>
                  <a:pt x="188" y="84"/>
                </a:lnTo>
                <a:lnTo>
                  <a:pt x="203" y="70"/>
                </a:lnTo>
                <a:lnTo>
                  <a:pt x="219" y="59"/>
                </a:lnTo>
                <a:lnTo>
                  <a:pt x="236" y="50"/>
                </a:lnTo>
                <a:lnTo>
                  <a:pt x="245" y="45"/>
                </a:lnTo>
                <a:lnTo>
                  <a:pt x="254" y="41"/>
                </a:lnTo>
                <a:lnTo>
                  <a:pt x="264" y="38"/>
                </a:lnTo>
                <a:lnTo>
                  <a:pt x="274" y="36"/>
                </a:lnTo>
                <a:lnTo>
                  <a:pt x="284" y="33"/>
                </a:lnTo>
                <a:lnTo>
                  <a:pt x="294" y="32"/>
                </a:lnTo>
                <a:lnTo>
                  <a:pt x="305" y="31"/>
                </a:lnTo>
                <a:lnTo>
                  <a:pt x="315" y="30"/>
                </a:lnTo>
                <a:lnTo>
                  <a:pt x="326" y="31"/>
                </a:lnTo>
                <a:lnTo>
                  <a:pt x="337" y="32"/>
                </a:lnTo>
                <a:lnTo>
                  <a:pt x="348" y="33"/>
                </a:lnTo>
                <a:lnTo>
                  <a:pt x="357" y="36"/>
                </a:lnTo>
                <a:lnTo>
                  <a:pt x="368" y="38"/>
                </a:lnTo>
                <a:lnTo>
                  <a:pt x="378" y="41"/>
                </a:lnTo>
                <a:lnTo>
                  <a:pt x="386" y="45"/>
                </a:lnTo>
                <a:lnTo>
                  <a:pt x="396" y="50"/>
                </a:lnTo>
                <a:lnTo>
                  <a:pt x="413" y="59"/>
                </a:lnTo>
                <a:lnTo>
                  <a:pt x="429" y="70"/>
                </a:lnTo>
                <a:lnTo>
                  <a:pt x="444" y="84"/>
                </a:lnTo>
                <a:lnTo>
                  <a:pt x="457" y="98"/>
                </a:lnTo>
                <a:lnTo>
                  <a:pt x="470" y="113"/>
                </a:lnTo>
                <a:lnTo>
                  <a:pt x="481" y="130"/>
                </a:lnTo>
                <a:lnTo>
                  <a:pt x="489" y="147"/>
                </a:lnTo>
                <a:lnTo>
                  <a:pt x="497" y="165"/>
                </a:lnTo>
                <a:lnTo>
                  <a:pt x="503" y="184"/>
                </a:lnTo>
                <a:lnTo>
                  <a:pt x="507" y="203"/>
                </a:lnTo>
                <a:lnTo>
                  <a:pt x="511" y="222"/>
                </a:lnTo>
                <a:lnTo>
                  <a:pt x="511" y="242"/>
                </a:lnTo>
                <a:lnTo>
                  <a:pt x="511" y="362"/>
                </a:lnTo>
                <a:close/>
                <a:moveTo>
                  <a:pt x="330" y="597"/>
                </a:moveTo>
                <a:lnTo>
                  <a:pt x="330" y="700"/>
                </a:lnTo>
                <a:lnTo>
                  <a:pt x="330" y="703"/>
                </a:lnTo>
                <a:lnTo>
                  <a:pt x="329" y="706"/>
                </a:lnTo>
                <a:lnTo>
                  <a:pt x="328" y="709"/>
                </a:lnTo>
                <a:lnTo>
                  <a:pt x="326" y="711"/>
                </a:lnTo>
                <a:lnTo>
                  <a:pt x="324" y="712"/>
                </a:lnTo>
                <a:lnTo>
                  <a:pt x="322" y="714"/>
                </a:lnTo>
                <a:lnTo>
                  <a:pt x="319" y="714"/>
                </a:lnTo>
                <a:lnTo>
                  <a:pt x="315" y="715"/>
                </a:lnTo>
                <a:lnTo>
                  <a:pt x="312" y="714"/>
                </a:lnTo>
                <a:lnTo>
                  <a:pt x="310" y="714"/>
                </a:lnTo>
                <a:lnTo>
                  <a:pt x="307" y="712"/>
                </a:lnTo>
                <a:lnTo>
                  <a:pt x="305" y="711"/>
                </a:lnTo>
                <a:lnTo>
                  <a:pt x="304" y="709"/>
                </a:lnTo>
                <a:lnTo>
                  <a:pt x="302" y="706"/>
                </a:lnTo>
                <a:lnTo>
                  <a:pt x="302" y="704"/>
                </a:lnTo>
                <a:lnTo>
                  <a:pt x="300" y="700"/>
                </a:lnTo>
                <a:lnTo>
                  <a:pt x="300" y="597"/>
                </a:lnTo>
                <a:lnTo>
                  <a:pt x="295" y="592"/>
                </a:lnTo>
                <a:lnTo>
                  <a:pt x="290" y="587"/>
                </a:lnTo>
                <a:lnTo>
                  <a:pt x="286" y="579"/>
                </a:lnTo>
                <a:lnTo>
                  <a:pt x="285" y="572"/>
                </a:lnTo>
                <a:lnTo>
                  <a:pt x="286" y="565"/>
                </a:lnTo>
                <a:lnTo>
                  <a:pt x="289" y="560"/>
                </a:lnTo>
                <a:lnTo>
                  <a:pt x="291" y="555"/>
                </a:lnTo>
                <a:lnTo>
                  <a:pt x="295" y="550"/>
                </a:lnTo>
                <a:lnTo>
                  <a:pt x="299" y="547"/>
                </a:lnTo>
                <a:lnTo>
                  <a:pt x="304" y="544"/>
                </a:lnTo>
                <a:lnTo>
                  <a:pt x="310" y="542"/>
                </a:lnTo>
                <a:lnTo>
                  <a:pt x="315" y="542"/>
                </a:lnTo>
                <a:lnTo>
                  <a:pt x="322" y="542"/>
                </a:lnTo>
                <a:lnTo>
                  <a:pt x="327" y="544"/>
                </a:lnTo>
                <a:lnTo>
                  <a:pt x="333" y="547"/>
                </a:lnTo>
                <a:lnTo>
                  <a:pt x="337" y="550"/>
                </a:lnTo>
                <a:lnTo>
                  <a:pt x="341" y="555"/>
                </a:lnTo>
                <a:lnTo>
                  <a:pt x="343" y="560"/>
                </a:lnTo>
                <a:lnTo>
                  <a:pt x="345" y="565"/>
                </a:lnTo>
                <a:lnTo>
                  <a:pt x="345" y="572"/>
                </a:lnTo>
                <a:lnTo>
                  <a:pt x="344" y="579"/>
                </a:lnTo>
                <a:lnTo>
                  <a:pt x="341" y="587"/>
                </a:lnTo>
                <a:lnTo>
                  <a:pt x="337" y="592"/>
                </a:lnTo>
                <a:lnTo>
                  <a:pt x="330" y="597"/>
                </a:lnTo>
                <a:lnTo>
                  <a:pt x="330" y="597"/>
                </a:lnTo>
                <a:close/>
                <a:moveTo>
                  <a:pt x="541" y="362"/>
                </a:moveTo>
                <a:lnTo>
                  <a:pt x="541" y="242"/>
                </a:lnTo>
                <a:lnTo>
                  <a:pt x="540" y="219"/>
                </a:lnTo>
                <a:lnTo>
                  <a:pt x="537" y="198"/>
                </a:lnTo>
                <a:lnTo>
                  <a:pt x="532" y="176"/>
                </a:lnTo>
                <a:lnTo>
                  <a:pt x="525" y="155"/>
                </a:lnTo>
                <a:lnTo>
                  <a:pt x="516" y="134"/>
                </a:lnTo>
                <a:lnTo>
                  <a:pt x="505" y="114"/>
                </a:lnTo>
                <a:lnTo>
                  <a:pt x="493" y="95"/>
                </a:lnTo>
                <a:lnTo>
                  <a:pt x="480" y="77"/>
                </a:lnTo>
                <a:lnTo>
                  <a:pt x="471" y="69"/>
                </a:lnTo>
                <a:lnTo>
                  <a:pt x="463" y="61"/>
                </a:lnTo>
                <a:lnTo>
                  <a:pt x="455" y="53"/>
                </a:lnTo>
                <a:lnTo>
                  <a:pt x="446" y="46"/>
                </a:lnTo>
                <a:lnTo>
                  <a:pt x="438" y="39"/>
                </a:lnTo>
                <a:lnTo>
                  <a:pt x="428" y="33"/>
                </a:lnTo>
                <a:lnTo>
                  <a:pt x="418" y="27"/>
                </a:lnTo>
                <a:lnTo>
                  <a:pt x="408" y="22"/>
                </a:lnTo>
                <a:lnTo>
                  <a:pt x="397" y="17"/>
                </a:lnTo>
                <a:lnTo>
                  <a:pt x="386" y="13"/>
                </a:lnTo>
                <a:lnTo>
                  <a:pt x="376" y="9"/>
                </a:lnTo>
                <a:lnTo>
                  <a:pt x="364" y="7"/>
                </a:lnTo>
                <a:lnTo>
                  <a:pt x="353" y="3"/>
                </a:lnTo>
                <a:lnTo>
                  <a:pt x="340" y="2"/>
                </a:lnTo>
                <a:lnTo>
                  <a:pt x="328" y="1"/>
                </a:lnTo>
                <a:lnTo>
                  <a:pt x="315" y="0"/>
                </a:lnTo>
                <a:lnTo>
                  <a:pt x="304" y="1"/>
                </a:lnTo>
                <a:lnTo>
                  <a:pt x="291" y="2"/>
                </a:lnTo>
                <a:lnTo>
                  <a:pt x="279" y="3"/>
                </a:lnTo>
                <a:lnTo>
                  <a:pt x="267" y="7"/>
                </a:lnTo>
                <a:lnTo>
                  <a:pt x="256" y="9"/>
                </a:lnTo>
                <a:lnTo>
                  <a:pt x="245" y="13"/>
                </a:lnTo>
                <a:lnTo>
                  <a:pt x="234" y="17"/>
                </a:lnTo>
                <a:lnTo>
                  <a:pt x="223" y="22"/>
                </a:lnTo>
                <a:lnTo>
                  <a:pt x="214" y="27"/>
                </a:lnTo>
                <a:lnTo>
                  <a:pt x="204" y="33"/>
                </a:lnTo>
                <a:lnTo>
                  <a:pt x="194" y="39"/>
                </a:lnTo>
                <a:lnTo>
                  <a:pt x="186" y="46"/>
                </a:lnTo>
                <a:lnTo>
                  <a:pt x="176" y="53"/>
                </a:lnTo>
                <a:lnTo>
                  <a:pt x="169" y="61"/>
                </a:lnTo>
                <a:lnTo>
                  <a:pt x="160" y="69"/>
                </a:lnTo>
                <a:lnTo>
                  <a:pt x="152" y="77"/>
                </a:lnTo>
                <a:lnTo>
                  <a:pt x="138" y="95"/>
                </a:lnTo>
                <a:lnTo>
                  <a:pt x="127" y="114"/>
                </a:lnTo>
                <a:lnTo>
                  <a:pt x="116" y="134"/>
                </a:lnTo>
                <a:lnTo>
                  <a:pt x="106" y="155"/>
                </a:lnTo>
                <a:lnTo>
                  <a:pt x="100" y="176"/>
                </a:lnTo>
                <a:lnTo>
                  <a:pt x="95" y="198"/>
                </a:lnTo>
                <a:lnTo>
                  <a:pt x="91" y="219"/>
                </a:lnTo>
                <a:lnTo>
                  <a:pt x="90" y="242"/>
                </a:lnTo>
                <a:lnTo>
                  <a:pt x="90" y="362"/>
                </a:lnTo>
                <a:lnTo>
                  <a:pt x="0" y="362"/>
                </a:lnTo>
                <a:lnTo>
                  <a:pt x="0" y="902"/>
                </a:lnTo>
                <a:lnTo>
                  <a:pt x="632" y="902"/>
                </a:lnTo>
                <a:lnTo>
                  <a:pt x="632" y="362"/>
                </a:lnTo>
                <a:lnTo>
                  <a:pt x="541" y="362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id="{B2AA5F29-EC32-4E4D-AE0F-9BEA98768042}"/>
              </a:ext>
            </a:extLst>
          </p:cNvPr>
          <p:cNvGrpSpPr/>
          <p:nvPr/>
        </p:nvGrpSpPr>
        <p:grpSpPr>
          <a:xfrm>
            <a:off x="10623086" y="1479396"/>
            <a:ext cx="380334" cy="352865"/>
            <a:chOff x="9879013" y="2500313"/>
            <a:chExt cx="285750" cy="265113"/>
          </a:xfrm>
          <a:solidFill>
            <a:schemeClr val="accent2"/>
          </a:solidFill>
        </p:grpSpPr>
        <p:sp>
          <p:nvSpPr>
            <p:cNvPr id="67" name="Freeform 3859">
              <a:extLst>
                <a:ext uri="{FF2B5EF4-FFF2-40B4-BE49-F238E27FC236}">
                  <a16:creationId xmlns:a16="http://schemas.microsoft.com/office/drawing/2014/main" id="{E58CD5E6-3C50-429C-8D40-BCD3D97CBE9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031413" y="2500313"/>
              <a:ext cx="133350" cy="265113"/>
            </a:xfrm>
            <a:custGeom>
              <a:avLst/>
              <a:gdLst>
                <a:gd name="T0" fmla="*/ 156 w 420"/>
                <a:gd name="T1" fmla="*/ 795 h 832"/>
                <a:gd name="T2" fmla="*/ 95 w 420"/>
                <a:gd name="T3" fmla="*/ 761 h 832"/>
                <a:gd name="T4" fmla="*/ 51 w 420"/>
                <a:gd name="T5" fmla="*/ 708 h 832"/>
                <a:gd name="T6" fmla="*/ 31 w 420"/>
                <a:gd name="T7" fmla="*/ 640 h 832"/>
                <a:gd name="T8" fmla="*/ 38 w 420"/>
                <a:gd name="T9" fmla="*/ 576 h 832"/>
                <a:gd name="T10" fmla="*/ 73 w 420"/>
                <a:gd name="T11" fmla="*/ 517 h 832"/>
                <a:gd name="T12" fmla="*/ 128 w 420"/>
                <a:gd name="T13" fmla="*/ 469 h 832"/>
                <a:gd name="T14" fmla="*/ 186 w 420"/>
                <a:gd name="T15" fmla="*/ 446 h 832"/>
                <a:gd name="T16" fmla="*/ 224 w 420"/>
                <a:gd name="T17" fmla="*/ 444 h 832"/>
                <a:gd name="T18" fmla="*/ 263 w 420"/>
                <a:gd name="T19" fmla="*/ 451 h 832"/>
                <a:gd name="T20" fmla="*/ 300 w 420"/>
                <a:gd name="T21" fmla="*/ 470 h 832"/>
                <a:gd name="T22" fmla="*/ 344 w 420"/>
                <a:gd name="T23" fmla="*/ 505 h 832"/>
                <a:gd name="T24" fmla="*/ 378 w 420"/>
                <a:gd name="T25" fmla="*/ 556 h 832"/>
                <a:gd name="T26" fmla="*/ 390 w 420"/>
                <a:gd name="T27" fmla="*/ 609 h 832"/>
                <a:gd name="T28" fmla="*/ 383 w 420"/>
                <a:gd name="T29" fmla="*/ 676 h 832"/>
                <a:gd name="T30" fmla="*/ 350 w 420"/>
                <a:gd name="T31" fmla="*/ 737 h 832"/>
                <a:gd name="T32" fmla="*/ 296 w 420"/>
                <a:gd name="T33" fmla="*/ 781 h 832"/>
                <a:gd name="T34" fmla="*/ 228 w 420"/>
                <a:gd name="T35" fmla="*/ 802 h 832"/>
                <a:gd name="T36" fmla="*/ 388 w 420"/>
                <a:gd name="T37" fmla="*/ 508 h 832"/>
                <a:gd name="T38" fmla="*/ 208 w 420"/>
                <a:gd name="T39" fmla="*/ 178 h 832"/>
                <a:gd name="T40" fmla="*/ 145 w 420"/>
                <a:gd name="T41" fmla="*/ 20 h 832"/>
                <a:gd name="T42" fmla="*/ 109 w 420"/>
                <a:gd name="T43" fmla="*/ 4 h 832"/>
                <a:gd name="T44" fmla="*/ 66 w 420"/>
                <a:gd name="T45" fmla="*/ 0 h 832"/>
                <a:gd name="T46" fmla="*/ 27 w 420"/>
                <a:gd name="T47" fmla="*/ 11 h 832"/>
                <a:gd name="T48" fmla="*/ 2 w 420"/>
                <a:gd name="T49" fmla="*/ 28 h 832"/>
                <a:gd name="T50" fmla="*/ 0 w 420"/>
                <a:gd name="T51" fmla="*/ 263 h 832"/>
                <a:gd name="T52" fmla="*/ 55 w 420"/>
                <a:gd name="T53" fmla="*/ 273 h 832"/>
                <a:gd name="T54" fmla="*/ 97 w 420"/>
                <a:gd name="T55" fmla="*/ 293 h 832"/>
                <a:gd name="T56" fmla="*/ 125 w 420"/>
                <a:gd name="T57" fmla="*/ 320 h 832"/>
                <a:gd name="T58" fmla="*/ 135 w 420"/>
                <a:gd name="T59" fmla="*/ 352 h 832"/>
                <a:gd name="T60" fmla="*/ 131 w 420"/>
                <a:gd name="T61" fmla="*/ 362 h 832"/>
                <a:gd name="T62" fmla="*/ 120 w 420"/>
                <a:gd name="T63" fmla="*/ 367 h 832"/>
                <a:gd name="T64" fmla="*/ 109 w 420"/>
                <a:gd name="T65" fmla="*/ 362 h 832"/>
                <a:gd name="T66" fmla="*/ 105 w 420"/>
                <a:gd name="T67" fmla="*/ 352 h 832"/>
                <a:gd name="T68" fmla="*/ 97 w 420"/>
                <a:gd name="T69" fmla="*/ 333 h 832"/>
                <a:gd name="T70" fmla="*/ 76 w 420"/>
                <a:gd name="T71" fmla="*/ 315 h 832"/>
                <a:gd name="T72" fmla="*/ 0 w 420"/>
                <a:gd name="T73" fmla="*/ 293 h 832"/>
                <a:gd name="T74" fmla="*/ 2 w 420"/>
                <a:gd name="T75" fmla="*/ 648 h 832"/>
                <a:gd name="T76" fmla="*/ 27 w 420"/>
                <a:gd name="T77" fmla="*/ 725 h 832"/>
                <a:gd name="T78" fmla="*/ 78 w 420"/>
                <a:gd name="T79" fmla="*/ 786 h 832"/>
                <a:gd name="T80" fmla="*/ 149 w 420"/>
                <a:gd name="T81" fmla="*/ 823 h 832"/>
                <a:gd name="T82" fmla="*/ 221 w 420"/>
                <a:gd name="T83" fmla="*/ 832 h 832"/>
                <a:gd name="T84" fmla="*/ 272 w 420"/>
                <a:gd name="T85" fmla="*/ 823 h 832"/>
                <a:gd name="T86" fmla="*/ 344 w 420"/>
                <a:gd name="T87" fmla="*/ 785 h 832"/>
                <a:gd name="T88" fmla="*/ 396 w 420"/>
                <a:gd name="T89" fmla="*/ 723 h 832"/>
                <a:gd name="T90" fmla="*/ 418 w 420"/>
                <a:gd name="T91" fmla="*/ 654 h 832"/>
                <a:gd name="T92" fmla="*/ 420 w 420"/>
                <a:gd name="T93" fmla="*/ 608 h 832"/>
                <a:gd name="T94" fmla="*/ 408 w 420"/>
                <a:gd name="T95" fmla="*/ 552 h 8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20" h="832">
                  <a:moveTo>
                    <a:pt x="210" y="802"/>
                  </a:moveTo>
                  <a:lnTo>
                    <a:pt x="192" y="802"/>
                  </a:lnTo>
                  <a:lnTo>
                    <a:pt x="174" y="799"/>
                  </a:lnTo>
                  <a:lnTo>
                    <a:pt x="156" y="795"/>
                  </a:lnTo>
                  <a:lnTo>
                    <a:pt x="140" y="788"/>
                  </a:lnTo>
                  <a:lnTo>
                    <a:pt x="124" y="781"/>
                  </a:lnTo>
                  <a:lnTo>
                    <a:pt x="109" y="772"/>
                  </a:lnTo>
                  <a:lnTo>
                    <a:pt x="95" y="761"/>
                  </a:lnTo>
                  <a:lnTo>
                    <a:pt x="82" y="749"/>
                  </a:lnTo>
                  <a:lnTo>
                    <a:pt x="71" y="737"/>
                  </a:lnTo>
                  <a:lnTo>
                    <a:pt x="61" y="723"/>
                  </a:lnTo>
                  <a:lnTo>
                    <a:pt x="51" y="708"/>
                  </a:lnTo>
                  <a:lnTo>
                    <a:pt x="44" y="693"/>
                  </a:lnTo>
                  <a:lnTo>
                    <a:pt x="38" y="676"/>
                  </a:lnTo>
                  <a:lnTo>
                    <a:pt x="33" y="658"/>
                  </a:lnTo>
                  <a:lnTo>
                    <a:pt x="31" y="640"/>
                  </a:lnTo>
                  <a:lnTo>
                    <a:pt x="30" y="622"/>
                  </a:lnTo>
                  <a:lnTo>
                    <a:pt x="31" y="607"/>
                  </a:lnTo>
                  <a:lnTo>
                    <a:pt x="34" y="592"/>
                  </a:lnTo>
                  <a:lnTo>
                    <a:pt x="38" y="576"/>
                  </a:lnTo>
                  <a:lnTo>
                    <a:pt x="45" y="561"/>
                  </a:lnTo>
                  <a:lnTo>
                    <a:pt x="52" y="546"/>
                  </a:lnTo>
                  <a:lnTo>
                    <a:pt x="62" y="531"/>
                  </a:lnTo>
                  <a:lnTo>
                    <a:pt x="73" y="517"/>
                  </a:lnTo>
                  <a:lnTo>
                    <a:pt x="85" y="503"/>
                  </a:lnTo>
                  <a:lnTo>
                    <a:pt x="97" y="490"/>
                  </a:lnTo>
                  <a:lnTo>
                    <a:pt x="112" y="479"/>
                  </a:lnTo>
                  <a:lnTo>
                    <a:pt x="128" y="469"/>
                  </a:lnTo>
                  <a:lnTo>
                    <a:pt x="144" y="460"/>
                  </a:lnTo>
                  <a:lnTo>
                    <a:pt x="161" y="454"/>
                  </a:lnTo>
                  <a:lnTo>
                    <a:pt x="178" y="448"/>
                  </a:lnTo>
                  <a:lnTo>
                    <a:pt x="186" y="446"/>
                  </a:lnTo>
                  <a:lnTo>
                    <a:pt x="196" y="445"/>
                  </a:lnTo>
                  <a:lnTo>
                    <a:pt x="205" y="444"/>
                  </a:lnTo>
                  <a:lnTo>
                    <a:pt x="214" y="444"/>
                  </a:lnTo>
                  <a:lnTo>
                    <a:pt x="224" y="444"/>
                  </a:lnTo>
                  <a:lnTo>
                    <a:pt x="234" y="445"/>
                  </a:lnTo>
                  <a:lnTo>
                    <a:pt x="243" y="447"/>
                  </a:lnTo>
                  <a:lnTo>
                    <a:pt x="253" y="449"/>
                  </a:lnTo>
                  <a:lnTo>
                    <a:pt x="263" y="451"/>
                  </a:lnTo>
                  <a:lnTo>
                    <a:pt x="272" y="456"/>
                  </a:lnTo>
                  <a:lnTo>
                    <a:pt x="281" y="459"/>
                  </a:lnTo>
                  <a:lnTo>
                    <a:pt x="291" y="464"/>
                  </a:lnTo>
                  <a:lnTo>
                    <a:pt x="300" y="470"/>
                  </a:lnTo>
                  <a:lnTo>
                    <a:pt x="309" y="475"/>
                  </a:lnTo>
                  <a:lnTo>
                    <a:pt x="317" y="481"/>
                  </a:lnTo>
                  <a:lnTo>
                    <a:pt x="327" y="489"/>
                  </a:lnTo>
                  <a:lnTo>
                    <a:pt x="344" y="505"/>
                  </a:lnTo>
                  <a:lnTo>
                    <a:pt x="360" y="522"/>
                  </a:lnTo>
                  <a:lnTo>
                    <a:pt x="367" y="534"/>
                  </a:lnTo>
                  <a:lnTo>
                    <a:pt x="373" y="545"/>
                  </a:lnTo>
                  <a:lnTo>
                    <a:pt x="378" y="556"/>
                  </a:lnTo>
                  <a:lnTo>
                    <a:pt x="383" y="569"/>
                  </a:lnTo>
                  <a:lnTo>
                    <a:pt x="386" y="582"/>
                  </a:lnTo>
                  <a:lnTo>
                    <a:pt x="388" y="595"/>
                  </a:lnTo>
                  <a:lnTo>
                    <a:pt x="390" y="609"/>
                  </a:lnTo>
                  <a:lnTo>
                    <a:pt x="390" y="622"/>
                  </a:lnTo>
                  <a:lnTo>
                    <a:pt x="389" y="640"/>
                  </a:lnTo>
                  <a:lnTo>
                    <a:pt x="387" y="658"/>
                  </a:lnTo>
                  <a:lnTo>
                    <a:pt x="383" y="676"/>
                  </a:lnTo>
                  <a:lnTo>
                    <a:pt x="376" y="693"/>
                  </a:lnTo>
                  <a:lnTo>
                    <a:pt x="369" y="708"/>
                  </a:lnTo>
                  <a:lnTo>
                    <a:pt x="359" y="723"/>
                  </a:lnTo>
                  <a:lnTo>
                    <a:pt x="350" y="737"/>
                  </a:lnTo>
                  <a:lnTo>
                    <a:pt x="338" y="749"/>
                  </a:lnTo>
                  <a:lnTo>
                    <a:pt x="325" y="761"/>
                  </a:lnTo>
                  <a:lnTo>
                    <a:pt x="311" y="772"/>
                  </a:lnTo>
                  <a:lnTo>
                    <a:pt x="296" y="781"/>
                  </a:lnTo>
                  <a:lnTo>
                    <a:pt x="280" y="788"/>
                  </a:lnTo>
                  <a:lnTo>
                    <a:pt x="264" y="795"/>
                  </a:lnTo>
                  <a:lnTo>
                    <a:pt x="247" y="799"/>
                  </a:lnTo>
                  <a:lnTo>
                    <a:pt x="228" y="802"/>
                  </a:lnTo>
                  <a:lnTo>
                    <a:pt x="210" y="802"/>
                  </a:lnTo>
                  <a:close/>
                  <a:moveTo>
                    <a:pt x="390" y="515"/>
                  </a:moveTo>
                  <a:lnTo>
                    <a:pt x="389" y="511"/>
                  </a:lnTo>
                  <a:lnTo>
                    <a:pt x="388" y="508"/>
                  </a:lnTo>
                  <a:lnTo>
                    <a:pt x="269" y="240"/>
                  </a:lnTo>
                  <a:lnTo>
                    <a:pt x="268" y="238"/>
                  </a:lnTo>
                  <a:lnTo>
                    <a:pt x="266" y="236"/>
                  </a:lnTo>
                  <a:lnTo>
                    <a:pt x="208" y="178"/>
                  </a:lnTo>
                  <a:lnTo>
                    <a:pt x="154" y="31"/>
                  </a:lnTo>
                  <a:lnTo>
                    <a:pt x="153" y="28"/>
                  </a:lnTo>
                  <a:lnTo>
                    <a:pt x="151" y="26"/>
                  </a:lnTo>
                  <a:lnTo>
                    <a:pt x="145" y="20"/>
                  </a:lnTo>
                  <a:lnTo>
                    <a:pt x="137" y="15"/>
                  </a:lnTo>
                  <a:lnTo>
                    <a:pt x="129" y="11"/>
                  </a:lnTo>
                  <a:lnTo>
                    <a:pt x="119" y="6"/>
                  </a:lnTo>
                  <a:lnTo>
                    <a:pt x="109" y="4"/>
                  </a:lnTo>
                  <a:lnTo>
                    <a:pt x="100" y="2"/>
                  </a:lnTo>
                  <a:lnTo>
                    <a:pt x="89" y="0"/>
                  </a:lnTo>
                  <a:lnTo>
                    <a:pt x="77" y="0"/>
                  </a:lnTo>
                  <a:lnTo>
                    <a:pt x="66" y="0"/>
                  </a:lnTo>
                  <a:lnTo>
                    <a:pt x="56" y="2"/>
                  </a:lnTo>
                  <a:lnTo>
                    <a:pt x="45" y="4"/>
                  </a:lnTo>
                  <a:lnTo>
                    <a:pt x="35" y="6"/>
                  </a:lnTo>
                  <a:lnTo>
                    <a:pt x="27" y="11"/>
                  </a:lnTo>
                  <a:lnTo>
                    <a:pt x="18" y="15"/>
                  </a:lnTo>
                  <a:lnTo>
                    <a:pt x="11" y="20"/>
                  </a:lnTo>
                  <a:lnTo>
                    <a:pt x="4" y="26"/>
                  </a:lnTo>
                  <a:lnTo>
                    <a:pt x="2" y="28"/>
                  </a:lnTo>
                  <a:lnTo>
                    <a:pt x="1" y="31"/>
                  </a:lnTo>
                  <a:lnTo>
                    <a:pt x="0" y="33"/>
                  </a:lnTo>
                  <a:lnTo>
                    <a:pt x="0" y="36"/>
                  </a:lnTo>
                  <a:lnTo>
                    <a:pt x="0" y="263"/>
                  </a:lnTo>
                  <a:lnTo>
                    <a:pt x="14" y="265"/>
                  </a:lnTo>
                  <a:lnTo>
                    <a:pt x="28" y="267"/>
                  </a:lnTo>
                  <a:lnTo>
                    <a:pt x="42" y="270"/>
                  </a:lnTo>
                  <a:lnTo>
                    <a:pt x="55" y="273"/>
                  </a:lnTo>
                  <a:lnTo>
                    <a:pt x="66" y="278"/>
                  </a:lnTo>
                  <a:lnTo>
                    <a:pt x="77" y="282"/>
                  </a:lnTo>
                  <a:lnTo>
                    <a:pt x="88" y="287"/>
                  </a:lnTo>
                  <a:lnTo>
                    <a:pt x="97" y="293"/>
                  </a:lnTo>
                  <a:lnTo>
                    <a:pt x="106" y="299"/>
                  </a:lnTo>
                  <a:lnTo>
                    <a:pt x="114" y="306"/>
                  </a:lnTo>
                  <a:lnTo>
                    <a:pt x="120" y="312"/>
                  </a:lnTo>
                  <a:lnTo>
                    <a:pt x="125" y="320"/>
                  </a:lnTo>
                  <a:lnTo>
                    <a:pt x="130" y="327"/>
                  </a:lnTo>
                  <a:lnTo>
                    <a:pt x="133" y="336"/>
                  </a:lnTo>
                  <a:lnTo>
                    <a:pt x="134" y="343"/>
                  </a:lnTo>
                  <a:lnTo>
                    <a:pt x="135" y="352"/>
                  </a:lnTo>
                  <a:lnTo>
                    <a:pt x="135" y="355"/>
                  </a:lnTo>
                  <a:lnTo>
                    <a:pt x="134" y="358"/>
                  </a:lnTo>
                  <a:lnTo>
                    <a:pt x="133" y="360"/>
                  </a:lnTo>
                  <a:lnTo>
                    <a:pt x="131" y="362"/>
                  </a:lnTo>
                  <a:lnTo>
                    <a:pt x="129" y="365"/>
                  </a:lnTo>
                  <a:lnTo>
                    <a:pt x="125" y="366"/>
                  </a:lnTo>
                  <a:lnTo>
                    <a:pt x="123" y="367"/>
                  </a:lnTo>
                  <a:lnTo>
                    <a:pt x="120" y="367"/>
                  </a:lnTo>
                  <a:lnTo>
                    <a:pt x="117" y="367"/>
                  </a:lnTo>
                  <a:lnTo>
                    <a:pt x="115" y="366"/>
                  </a:lnTo>
                  <a:lnTo>
                    <a:pt x="111" y="365"/>
                  </a:lnTo>
                  <a:lnTo>
                    <a:pt x="109" y="362"/>
                  </a:lnTo>
                  <a:lnTo>
                    <a:pt x="107" y="360"/>
                  </a:lnTo>
                  <a:lnTo>
                    <a:pt x="106" y="358"/>
                  </a:lnTo>
                  <a:lnTo>
                    <a:pt x="105" y="355"/>
                  </a:lnTo>
                  <a:lnTo>
                    <a:pt x="105" y="352"/>
                  </a:lnTo>
                  <a:lnTo>
                    <a:pt x="105" y="347"/>
                  </a:lnTo>
                  <a:lnTo>
                    <a:pt x="103" y="342"/>
                  </a:lnTo>
                  <a:lnTo>
                    <a:pt x="101" y="338"/>
                  </a:lnTo>
                  <a:lnTo>
                    <a:pt x="97" y="333"/>
                  </a:lnTo>
                  <a:lnTo>
                    <a:pt x="93" y="328"/>
                  </a:lnTo>
                  <a:lnTo>
                    <a:pt x="89" y="324"/>
                  </a:lnTo>
                  <a:lnTo>
                    <a:pt x="82" y="320"/>
                  </a:lnTo>
                  <a:lnTo>
                    <a:pt x="76" y="315"/>
                  </a:lnTo>
                  <a:lnTo>
                    <a:pt x="61" y="308"/>
                  </a:lnTo>
                  <a:lnTo>
                    <a:pt x="43" y="301"/>
                  </a:lnTo>
                  <a:lnTo>
                    <a:pt x="22" y="297"/>
                  </a:lnTo>
                  <a:lnTo>
                    <a:pt x="0" y="293"/>
                  </a:lnTo>
                  <a:lnTo>
                    <a:pt x="0" y="626"/>
                  </a:lnTo>
                  <a:lnTo>
                    <a:pt x="0" y="626"/>
                  </a:lnTo>
                  <a:lnTo>
                    <a:pt x="0" y="627"/>
                  </a:lnTo>
                  <a:lnTo>
                    <a:pt x="2" y="648"/>
                  </a:lnTo>
                  <a:lnTo>
                    <a:pt x="5" y="669"/>
                  </a:lnTo>
                  <a:lnTo>
                    <a:pt x="11" y="688"/>
                  </a:lnTo>
                  <a:lnTo>
                    <a:pt x="18" y="707"/>
                  </a:lnTo>
                  <a:lnTo>
                    <a:pt x="27" y="725"/>
                  </a:lnTo>
                  <a:lnTo>
                    <a:pt x="37" y="742"/>
                  </a:lnTo>
                  <a:lnTo>
                    <a:pt x="49" y="758"/>
                  </a:lnTo>
                  <a:lnTo>
                    <a:pt x="63" y="772"/>
                  </a:lnTo>
                  <a:lnTo>
                    <a:pt x="78" y="786"/>
                  </a:lnTo>
                  <a:lnTo>
                    <a:pt x="94" y="798"/>
                  </a:lnTo>
                  <a:lnTo>
                    <a:pt x="111" y="807"/>
                  </a:lnTo>
                  <a:lnTo>
                    <a:pt x="130" y="816"/>
                  </a:lnTo>
                  <a:lnTo>
                    <a:pt x="149" y="823"/>
                  </a:lnTo>
                  <a:lnTo>
                    <a:pt x="168" y="829"/>
                  </a:lnTo>
                  <a:lnTo>
                    <a:pt x="189" y="831"/>
                  </a:lnTo>
                  <a:lnTo>
                    <a:pt x="210" y="832"/>
                  </a:lnTo>
                  <a:lnTo>
                    <a:pt x="221" y="832"/>
                  </a:lnTo>
                  <a:lnTo>
                    <a:pt x="232" y="831"/>
                  </a:lnTo>
                  <a:lnTo>
                    <a:pt x="242" y="830"/>
                  </a:lnTo>
                  <a:lnTo>
                    <a:pt x="253" y="828"/>
                  </a:lnTo>
                  <a:lnTo>
                    <a:pt x="272" y="823"/>
                  </a:lnTo>
                  <a:lnTo>
                    <a:pt x="292" y="816"/>
                  </a:lnTo>
                  <a:lnTo>
                    <a:pt x="311" y="807"/>
                  </a:lnTo>
                  <a:lnTo>
                    <a:pt x="328" y="797"/>
                  </a:lnTo>
                  <a:lnTo>
                    <a:pt x="344" y="785"/>
                  </a:lnTo>
                  <a:lnTo>
                    <a:pt x="359" y="771"/>
                  </a:lnTo>
                  <a:lnTo>
                    <a:pt x="372" y="756"/>
                  </a:lnTo>
                  <a:lnTo>
                    <a:pt x="385" y="740"/>
                  </a:lnTo>
                  <a:lnTo>
                    <a:pt x="396" y="723"/>
                  </a:lnTo>
                  <a:lnTo>
                    <a:pt x="404" y="704"/>
                  </a:lnTo>
                  <a:lnTo>
                    <a:pt x="411" y="685"/>
                  </a:lnTo>
                  <a:lnTo>
                    <a:pt x="416" y="665"/>
                  </a:lnTo>
                  <a:lnTo>
                    <a:pt x="418" y="654"/>
                  </a:lnTo>
                  <a:lnTo>
                    <a:pt x="419" y="643"/>
                  </a:lnTo>
                  <a:lnTo>
                    <a:pt x="420" y="633"/>
                  </a:lnTo>
                  <a:lnTo>
                    <a:pt x="420" y="622"/>
                  </a:lnTo>
                  <a:lnTo>
                    <a:pt x="420" y="608"/>
                  </a:lnTo>
                  <a:lnTo>
                    <a:pt x="418" y="593"/>
                  </a:lnTo>
                  <a:lnTo>
                    <a:pt x="416" y="579"/>
                  </a:lnTo>
                  <a:lnTo>
                    <a:pt x="413" y="565"/>
                  </a:lnTo>
                  <a:lnTo>
                    <a:pt x="408" y="552"/>
                  </a:lnTo>
                  <a:lnTo>
                    <a:pt x="403" y="539"/>
                  </a:lnTo>
                  <a:lnTo>
                    <a:pt x="397" y="526"/>
                  </a:lnTo>
                  <a:lnTo>
                    <a:pt x="390" y="5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3860">
              <a:extLst>
                <a:ext uri="{FF2B5EF4-FFF2-40B4-BE49-F238E27FC236}">
                  <a16:creationId xmlns:a16="http://schemas.microsoft.com/office/drawing/2014/main" id="{77743884-27CE-4AA9-883B-CF8068B5AD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79013" y="2500313"/>
              <a:ext cx="133350" cy="265113"/>
            </a:xfrm>
            <a:custGeom>
              <a:avLst/>
              <a:gdLst>
                <a:gd name="T0" fmla="*/ 382 w 421"/>
                <a:gd name="T1" fmla="*/ 676 h 832"/>
                <a:gd name="T2" fmla="*/ 349 w 421"/>
                <a:gd name="T3" fmla="*/ 737 h 832"/>
                <a:gd name="T4" fmla="*/ 296 w 421"/>
                <a:gd name="T5" fmla="*/ 781 h 832"/>
                <a:gd name="T6" fmla="*/ 229 w 421"/>
                <a:gd name="T7" fmla="*/ 802 h 832"/>
                <a:gd name="T8" fmla="*/ 157 w 421"/>
                <a:gd name="T9" fmla="*/ 795 h 832"/>
                <a:gd name="T10" fmla="*/ 96 w 421"/>
                <a:gd name="T11" fmla="*/ 761 h 832"/>
                <a:gd name="T12" fmla="*/ 52 w 421"/>
                <a:gd name="T13" fmla="*/ 708 h 832"/>
                <a:gd name="T14" fmla="*/ 30 w 421"/>
                <a:gd name="T15" fmla="*/ 640 h 832"/>
                <a:gd name="T16" fmla="*/ 35 w 421"/>
                <a:gd name="T17" fmla="*/ 582 h 832"/>
                <a:gd name="T18" fmla="*/ 53 w 421"/>
                <a:gd name="T19" fmla="*/ 534 h 832"/>
                <a:gd name="T20" fmla="*/ 103 w 421"/>
                <a:gd name="T21" fmla="*/ 481 h 832"/>
                <a:gd name="T22" fmla="*/ 139 w 421"/>
                <a:gd name="T23" fmla="*/ 459 h 832"/>
                <a:gd name="T24" fmla="*/ 177 w 421"/>
                <a:gd name="T25" fmla="*/ 447 h 832"/>
                <a:gd name="T26" fmla="*/ 216 w 421"/>
                <a:gd name="T27" fmla="*/ 444 h 832"/>
                <a:gd name="T28" fmla="*/ 260 w 421"/>
                <a:gd name="T29" fmla="*/ 454 h 832"/>
                <a:gd name="T30" fmla="*/ 322 w 421"/>
                <a:gd name="T31" fmla="*/ 490 h 832"/>
                <a:gd name="T32" fmla="*/ 368 w 421"/>
                <a:gd name="T33" fmla="*/ 546 h 832"/>
                <a:gd name="T34" fmla="*/ 390 w 421"/>
                <a:gd name="T35" fmla="*/ 607 h 832"/>
                <a:gd name="T36" fmla="*/ 332 w 421"/>
                <a:gd name="T37" fmla="*/ 0 h 832"/>
                <a:gd name="T38" fmla="*/ 292 w 421"/>
                <a:gd name="T39" fmla="*/ 11 h 832"/>
                <a:gd name="T40" fmla="*/ 267 w 421"/>
                <a:gd name="T41" fmla="*/ 28 h 832"/>
                <a:gd name="T42" fmla="*/ 153 w 421"/>
                <a:gd name="T43" fmla="*/ 238 h 832"/>
                <a:gd name="T44" fmla="*/ 30 w 421"/>
                <a:gd name="T45" fmla="*/ 514 h 832"/>
                <a:gd name="T46" fmla="*/ 8 w 421"/>
                <a:gd name="T47" fmla="*/ 565 h 832"/>
                <a:gd name="T48" fmla="*/ 0 w 421"/>
                <a:gd name="T49" fmla="*/ 622 h 832"/>
                <a:gd name="T50" fmla="*/ 5 w 421"/>
                <a:gd name="T51" fmla="*/ 665 h 832"/>
                <a:gd name="T52" fmla="*/ 36 w 421"/>
                <a:gd name="T53" fmla="*/ 740 h 832"/>
                <a:gd name="T54" fmla="*/ 93 w 421"/>
                <a:gd name="T55" fmla="*/ 797 h 832"/>
                <a:gd name="T56" fmla="*/ 168 w 421"/>
                <a:gd name="T57" fmla="*/ 828 h 832"/>
                <a:gd name="T58" fmla="*/ 211 w 421"/>
                <a:gd name="T59" fmla="*/ 832 h 832"/>
                <a:gd name="T60" fmla="*/ 291 w 421"/>
                <a:gd name="T61" fmla="*/ 816 h 832"/>
                <a:gd name="T62" fmla="*/ 358 w 421"/>
                <a:gd name="T63" fmla="*/ 772 h 832"/>
                <a:gd name="T64" fmla="*/ 403 w 421"/>
                <a:gd name="T65" fmla="*/ 708 h 832"/>
                <a:gd name="T66" fmla="*/ 421 w 421"/>
                <a:gd name="T67" fmla="*/ 627 h 832"/>
                <a:gd name="T68" fmla="*/ 398 w 421"/>
                <a:gd name="T69" fmla="*/ 297 h 832"/>
                <a:gd name="T70" fmla="*/ 337 w 421"/>
                <a:gd name="T71" fmla="*/ 320 h 832"/>
                <a:gd name="T72" fmla="*/ 320 w 421"/>
                <a:gd name="T73" fmla="*/ 338 h 832"/>
                <a:gd name="T74" fmla="*/ 316 w 421"/>
                <a:gd name="T75" fmla="*/ 355 h 832"/>
                <a:gd name="T76" fmla="*/ 309 w 421"/>
                <a:gd name="T77" fmla="*/ 365 h 832"/>
                <a:gd name="T78" fmla="*/ 297 w 421"/>
                <a:gd name="T79" fmla="*/ 367 h 832"/>
                <a:gd name="T80" fmla="*/ 288 w 421"/>
                <a:gd name="T81" fmla="*/ 360 h 832"/>
                <a:gd name="T82" fmla="*/ 286 w 421"/>
                <a:gd name="T83" fmla="*/ 343 h 832"/>
                <a:gd name="T84" fmla="*/ 301 w 421"/>
                <a:gd name="T85" fmla="*/ 312 h 832"/>
                <a:gd name="T86" fmla="*/ 333 w 421"/>
                <a:gd name="T87" fmla="*/ 287 h 832"/>
                <a:gd name="T88" fmla="*/ 379 w 421"/>
                <a:gd name="T89" fmla="*/ 270 h 832"/>
                <a:gd name="T90" fmla="*/ 421 w 421"/>
                <a:gd name="T91" fmla="*/ 36 h 832"/>
                <a:gd name="T92" fmla="*/ 417 w 421"/>
                <a:gd name="T93" fmla="*/ 26 h 832"/>
                <a:gd name="T94" fmla="*/ 384 w 421"/>
                <a:gd name="T95" fmla="*/ 6 h 832"/>
                <a:gd name="T96" fmla="*/ 343 w 421"/>
                <a:gd name="T97" fmla="*/ 0 h 8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21" h="832">
                  <a:moveTo>
                    <a:pt x="391" y="622"/>
                  </a:moveTo>
                  <a:lnTo>
                    <a:pt x="390" y="640"/>
                  </a:lnTo>
                  <a:lnTo>
                    <a:pt x="386" y="658"/>
                  </a:lnTo>
                  <a:lnTo>
                    <a:pt x="382" y="676"/>
                  </a:lnTo>
                  <a:lnTo>
                    <a:pt x="377" y="693"/>
                  </a:lnTo>
                  <a:lnTo>
                    <a:pt x="369" y="708"/>
                  </a:lnTo>
                  <a:lnTo>
                    <a:pt x="360" y="723"/>
                  </a:lnTo>
                  <a:lnTo>
                    <a:pt x="349" y="737"/>
                  </a:lnTo>
                  <a:lnTo>
                    <a:pt x="338" y="749"/>
                  </a:lnTo>
                  <a:lnTo>
                    <a:pt x="325" y="761"/>
                  </a:lnTo>
                  <a:lnTo>
                    <a:pt x="311" y="772"/>
                  </a:lnTo>
                  <a:lnTo>
                    <a:pt x="296" y="781"/>
                  </a:lnTo>
                  <a:lnTo>
                    <a:pt x="280" y="788"/>
                  </a:lnTo>
                  <a:lnTo>
                    <a:pt x="264" y="795"/>
                  </a:lnTo>
                  <a:lnTo>
                    <a:pt x="247" y="799"/>
                  </a:lnTo>
                  <a:lnTo>
                    <a:pt x="229" y="802"/>
                  </a:lnTo>
                  <a:lnTo>
                    <a:pt x="211" y="802"/>
                  </a:lnTo>
                  <a:lnTo>
                    <a:pt x="192" y="802"/>
                  </a:lnTo>
                  <a:lnTo>
                    <a:pt x="174" y="799"/>
                  </a:lnTo>
                  <a:lnTo>
                    <a:pt x="157" y="795"/>
                  </a:lnTo>
                  <a:lnTo>
                    <a:pt x="140" y="788"/>
                  </a:lnTo>
                  <a:lnTo>
                    <a:pt x="125" y="781"/>
                  </a:lnTo>
                  <a:lnTo>
                    <a:pt x="110" y="772"/>
                  </a:lnTo>
                  <a:lnTo>
                    <a:pt x="96" y="761"/>
                  </a:lnTo>
                  <a:lnTo>
                    <a:pt x="83" y="749"/>
                  </a:lnTo>
                  <a:lnTo>
                    <a:pt x="71" y="737"/>
                  </a:lnTo>
                  <a:lnTo>
                    <a:pt x="60" y="723"/>
                  </a:lnTo>
                  <a:lnTo>
                    <a:pt x="52" y="708"/>
                  </a:lnTo>
                  <a:lnTo>
                    <a:pt x="44" y="693"/>
                  </a:lnTo>
                  <a:lnTo>
                    <a:pt x="38" y="676"/>
                  </a:lnTo>
                  <a:lnTo>
                    <a:pt x="34" y="658"/>
                  </a:lnTo>
                  <a:lnTo>
                    <a:pt x="30" y="640"/>
                  </a:lnTo>
                  <a:lnTo>
                    <a:pt x="30" y="622"/>
                  </a:lnTo>
                  <a:lnTo>
                    <a:pt x="30" y="609"/>
                  </a:lnTo>
                  <a:lnTo>
                    <a:pt x="33" y="595"/>
                  </a:lnTo>
                  <a:lnTo>
                    <a:pt x="35" y="582"/>
                  </a:lnTo>
                  <a:lnTo>
                    <a:pt x="38" y="569"/>
                  </a:lnTo>
                  <a:lnTo>
                    <a:pt x="42" y="556"/>
                  </a:lnTo>
                  <a:lnTo>
                    <a:pt x="48" y="545"/>
                  </a:lnTo>
                  <a:lnTo>
                    <a:pt x="53" y="534"/>
                  </a:lnTo>
                  <a:lnTo>
                    <a:pt x="60" y="522"/>
                  </a:lnTo>
                  <a:lnTo>
                    <a:pt x="77" y="505"/>
                  </a:lnTo>
                  <a:lnTo>
                    <a:pt x="94" y="489"/>
                  </a:lnTo>
                  <a:lnTo>
                    <a:pt x="103" y="481"/>
                  </a:lnTo>
                  <a:lnTo>
                    <a:pt x="112" y="475"/>
                  </a:lnTo>
                  <a:lnTo>
                    <a:pt x="121" y="470"/>
                  </a:lnTo>
                  <a:lnTo>
                    <a:pt x="130" y="464"/>
                  </a:lnTo>
                  <a:lnTo>
                    <a:pt x="139" y="459"/>
                  </a:lnTo>
                  <a:lnTo>
                    <a:pt x="148" y="456"/>
                  </a:lnTo>
                  <a:lnTo>
                    <a:pt x="158" y="451"/>
                  </a:lnTo>
                  <a:lnTo>
                    <a:pt x="168" y="449"/>
                  </a:lnTo>
                  <a:lnTo>
                    <a:pt x="177" y="447"/>
                  </a:lnTo>
                  <a:lnTo>
                    <a:pt x="187" y="445"/>
                  </a:lnTo>
                  <a:lnTo>
                    <a:pt x="197" y="444"/>
                  </a:lnTo>
                  <a:lnTo>
                    <a:pt x="206" y="444"/>
                  </a:lnTo>
                  <a:lnTo>
                    <a:pt x="216" y="444"/>
                  </a:lnTo>
                  <a:lnTo>
                    <a:pt x="225" y="445"/>
                  </a:lnTo>
                  <a:lnTo>
                    <a:pt x="234" y="446"/>
                  </a:lnTo>
                  <a:lnTo>
                    <a:pt x="243" y="448"/>
                  </a:lnTo>
                  <a:lnTo>
                    <a:pt x="260" y="454"/>
                  </a:lnTo>
                  <a:lnTo>
                    <a:pt x="277" y="460"/>
                  </a:lnTo>
                  <a:lnTo>
                    <a:pt x="293" y="469"/>
                  </a:lnTo>
                  <a:lnTo>
                    <a:pt x="308" y="479"/>
                  </a:lnTo>
                  <a:lnTo>
                    <a:pt x="322" y="490"/>
                  </a:lnTo>
                  <a:lnTo>
                    <a:pt x="336" y="503"/>
                  </a:lnTo>
                  <a:lnTo>
                    <a:pt x="348" y="517"/>
                  </a:lnTo>
                  <a:lnTo>
                    <a:pt x="359" y="531"/>
                  </a:lnTo>
                  <a:lnTo>
                    <a:pt x="368" y="546"/>
                  </a:lnTo>
                  <a:lnTo>
                    <a:pt x="376" y="561"/>
                  </a:lnTo>
                  <a:lnTo>
                    <a:pt x="382" y="576"/>
                  </a:lnTo>
                  <a:lnTo>
                    <a:pt x="386" y="592"/>
                  </a:lnTo>
                  <a:lnTo>
                    <a:pt x="390" y="607"/>
                  </a:lnTo>
                  <a:lnTo>
                    <a:pt x="391" y="622"/>
                  </a:lnTo>
                  <a:lnTo>
                    <a:pt x="391" y="622"/>
                  </a:lnTo>
                  <a:close/>
                  <a:moveTo>
                    <a:pt x="343" y="0"/>
                  </a:moveTo>
                  <a:lnTo>
                    <a:pt x="332" y="0"/>
                  </a:lnTo>
                  <a:lnTo>
                    <a:pt x="321" y="2"/>
                  </a:lnTo>
                  <a:lnTo>
                    <a:pt x="310" y="4"/>
                  </a:lnTo>
                  <a:lnTo>
                    <a:pt x="301" y="6"/>
                  </a:lnTo>
                  <a:lnTo>
                    <a:pt x="292" y="11"/>
                  </a:lnTo>
                  <a:lnTo>
                    <a:pt x="284" y="15"/>
                  </a:lnTo>
                  <a:lnTo>
                    <a:pt x="276" y="20"/>
                  </a:lnTo>
                  <a:lnTo>
                    <a:pt x="270" y="26"/>
                  </a:lnTo>
                  <a:lnTo>
                    <a:pt x="267" y="28"/>
                  </a:lnTo>
                  <a:lnTo>
                    <a:pt x="266" y="31"/>
                  </a:lnTo>
                  <a:lnTo>
                    <a:pt x="213" y="178"/>
                  </a:lnTo>
                  <a:lnTo>
                    <a:pt x="155" y="236"/>
                  </a:lnTo>
                  <a:lnTo>
                    <a:pt x="153" y="238"/>
                  </a:lnTo>
                  <a:lnTo>
                    <a:pt x="152" y="240"/>
                  </a:lnTo>
                  <a:lnTo>
                    <a:pt x="31" y="510"/>
                  </a:lnTo>
                  <a:lnTo>
                    <a:pt x="31" y="513"/>
                  </a:lnTo>
                  <a:lnTo>
                    <a:pt x="30" y="514"/>
                  </a:lnTo>
                  <a:lnTo>
                    <a:pt x="24" y="525"/>
                  </a:lnTo>
                  <a:lnTo>
                    <a:pt x="18" y="538"/>
                  </a:lnTo>
                  <a:lnTo>
                    <a:pt x="12" y="551"/>
                  </a:lnTo>
                  <a:lnTo>
                    <a:pt x="8" y="565"/>
                  </a:lnTo>
                  <a:lnTo>
                    <a:pt x="5" y="579"/>
                  </a:lnTo>
                  <a:lnTo>
                    <a:pt x="3" y="593"/>
                  </a:lnTo>
                  <a:lnTo>
                    <a:pt x="0" y="607"/>
                  </a:lnTo>
                  <a:lnTo>
                    <a:pt x="0" y="622"/>
                  </a:lnTo>
                  <a:lnTo>
                    <a:pt x="0" y="633"/>
                  </a:lnTo>
                  <a:lnTo>
                    <a:pt x="1" y="643"/>
                  </a:lnTo>
                  <a:lnTo>
                    <a:pt x="3" y="654"/>
                  </a:lnTo>
                  <a:lnTo>
                    <a:pt x="5" y="665"/>
                  </a:lnTo>
                  <a:lnTo>
                    <a:pt x="9" y="685"/>
                  </a:lnTo>
                  <a:lnTo>
                    <a:pt x="16" y="704"/>
                  </a:lnTo>
                  <a:lnTo>
                    <a:pt x="25" y="723"/>
                  </a:lnTo>
                  <a:lnTo>
                    <a:pt x="36" y="740"/>
                  </a:lnTo>
                  <a:lnTo>
                    <a:pt x="48" y="756"/>
                  </a:lnTo>
                  <a:lnTo>
                    <a:pt x="62" y="771"/>
                  </a:lnTo>
                  <a:lnTo>
                    <a:pt x="77" y="785"/>
                  </a:lnTo>
                  <a:lnTo>
                    <a:pt x="93" y="797"/>
                  </a:lnTo>
                  <a:lnTo>
                    <a:pt x="110" y="807"/>
                  </a:lnTo>
                  <a:lnTo>
                    <a:pt x="128" y="816"/>
                  </a:lnTo>
                  <a:lnTo>
                    <a:pt x="147" y="823"/>
                  </a:lnTo>
                  <a:lnTo>
                    <a:pt x="168" y="828"/>
                  </a:lnTo>
                  <a:lnTo>
                    <a:pt x="178" y="830"/>
                  </a:lnTo>
                  <a:lnTo>
                    <a:pt x="189" y="831"/>
                  </a:lnTo>
                  <a:lnTo>
                    <a:pt x="200" y="832"/>
                  </a:lnTo>
                  <a:lnTo>
                    <a:pt x="211" y="832"/>
                  </a:lnTo>
                  <a:lnTo>
                    <a:pt x="232" y="831"/>
                  </a:lnTo>
                  <a:lnTo>
                    <a:pt x="252" y="829"/>
                  </a:lnTo>
                  <a:lnTo>
                    <a:pt x="272" y="823"/>
                  </a:lnTo>
                  <a:lnTo>
                    <a:pt x="291" y="816"/>
                  </a:lnTo>
                  <a:lnTo>
                    <a:pt x="309" y="807"/>
                  </a:lnTo>
                  <a:lnTo>
                    <a:pt x="326" y="798"/>
                  </a:lnTo>
                  <a:lnTo>
                    <a:pt x="343" y="786"/>
                  </a:lnTo>
                  <a:lnTo>
                    <a:pt x="358" y="772"/>
                  </a:lnTo>
                  <a:lnTo>
                    <a:pt x="370" y="758"/>
                  </a:lnTo>
                  <a:lnTo>
                    <a:pt x="383" y="742"/>
                  </a:lnTo>
                  <a:lnTo>
                    <a:pt x="394" y="725"/>
                  </a:lnTo>
                  <a:lnTo>
                    <a:pt x="403" y="708"/>
                  </a:lnTo>
                  <a:lnTo>
                    <a:pt x="410" y="688"/>
                  </a:lnTo>
                  <a:lnTo>
                    <a:pt x="415" y="669"/>
                  </a:lnTo>
                  <a:lnTo>
                    <a:pt x="419" y="648"/>
                  </a:lnTo>
                  <a:lnTo>
                    <a:pt x="421" y="627"/>
                  </a:lnTo>
                  <a:lnTo>
                    <a:pt x="421" y="626"/>
                  </a:lnTo>
                  <a:lnTo>
                    <a:pt x="421" y="626"/>
                  </a:lnTo>
                  <a:lnTo>
                    <a:pt x="421" y="293"/>
                  </a:lnTo>
                  <a:lnTo>
                    <a:pt x="398" y="297"/>
                  </a:lnTo>
                  <a:lnTo>
                    <a:pt x="377" y="301"/>
                  </a:lnTo>
                  <a:lnTo>
                    <a:pt x="360" y="308"/>
                  </a:lnTo>
                  <a:lnTo>
                    <a:pt x="344" y="315"/>
                  </a:lnTo>
                  <a:lnTo>
                    <a:pt x="337" y="320"/>
                  </a:lnTo>
                  <a:lnTo>
                    <a:pt x="332" y="324"/>
                  </a:lnTo>
                  <a:lnTo>
                    <a:pt x="328" y="328"/>
                  </a:lnTo>
                  <a:lnTo>
                    <a:pt x="323" y="333"/>
                  </a:lnTo>
                  <a:lnTo>
                    <a:pt x="320" y="338"/>
                  </a:lnTo>
                  <a:lnTo>
                    <a:pt x="318" y="342"/>
                  </a:lnTo>
                  <a:lnTo>
                    <a:pt x="316" y="347"/>
                  </a:lnTo>
                  <a:lnTo>
                    <a:pt x="316" y="352"/>
                  </a:lnTo>
                  <a:lnTo>
                    <a:pt x="316" y="355"/>
                  </a:lnTo>
                  <a:lnTo>
                    <a:pt x="315" y="358"/>
                  </a:lnTo>
                  <a:lnTo>
                    <a:pt x="312" y="360"/>
                  </a:lnTo>
                  <a:lnTo>
                    <a:pt x="311" y="362"/>
                  </a:lnTo>
                  <a:lnTo>
                    <a:pt x="309" y="365"/>
                  </a:lnTo>
                  <a:lnTo>
                    <a:pt x="306" y="366"/>
                  </a:lnTo>
                  <a:lnTo>
                    <a:pt x="304" y="367"/>
                  </a:lnTo>
                  <a:lnTo>
                    <a:pt x="301" y="367"/>
                  </a:lnTo>
                  <a:lnTo>
                    <a:pt x="297" y="367"/>
                  </a:lnTo>
                  <a:lnTo>
                    <a:pt x="294" y="366"/>
                  </a:lnTo>
                  <a:lnTo>
                    <a:pt x="292" y="365"/>
                  </a:lnTo>
                  <a:lnTo>
                    <a:pt x="290" y="362"/>
                  </a:lnTo>
                  <a:lnTo>
                    <a:pt x="288" y="360"/>
                  </a:lnTo>
                  <a:lnTo>
                    <a:pt x="287" y="358"/>
                  </a:lnTo>
                  <a:lnTo>
                    <a:pt x="286" y="355"/>
                  </a:lnTo>
                  <a:lnTo>
                    <a:pt x="286" y="352"/>
                  </a:lnTo>
                  <a:lnTo>
                    <a:pt x="286" y="343"/>
                  </a:lnTo>
                  <a:lnTo>
                    <a:pt x="288" y="336"/>
                  </a:lnTo>
                  <a:lnTo>
                    <a:pt x="291" y="327"/>
                  </a:lnTo>
                  <a:lnTo>
                    <a:pt x="295" y="320"/>
                  </a:lnTo>
                  <a:lnTo>
                    <a:pt x="301" y="312"/>
                  </a:lnTo>
                  <a:lnTo>
                    <a:pt x="307" y="306"/>
                  </a:lnTo>
                  <a:lnTo>
                    <a:pt x="315" y="299"/>
                  </a:lnTo>
                  <a:lnTo>
                    <a:pt x="323" y="293"/>
                  </a:lnTo>
                  <a:lnTo>
                    <a:pt x="333" y="287"/>
                  </a:lnTo>
                  <a:lnTo>
                    <a:pt x="344" y="282"/>
                  </a:lnTo>
                  <a:lnTo>
                    <a:pt x="354" y="278"/>
                  </a:lnTo>
                  <a:lnTo>
                    <a:pt x="366" y="273"/>
                  </a:lnTo>
                  <a:lnTo>
                    <a:pt x="379" y="270"/>
                  </a:lnTo>
                  <a:lnTo>
                    <a:pt x="392" y="267"/>
                  </a:lnTo>
                  <a:lnTo>
                    <a:pt x="406" y="265"/>
                  </a:lnTo>
                  <a:lnTo>
                    <a:pt x="421" y="263"/>
                  </a:lnTo>
                  <a:lnTo>
                    <a:pt x="421" y="36"/>
                  </a:lnTo>
                  <a:lnTo>
                    <a:pt x="421" y="33"/>
                  </a:lnTo>
                  <a:lnTo>
                    <a:pt x="420" y="31"/>
                  </a:lnTo>
                  <a:lnTo>
                    <a:pt x="419" y="28"/>
                  </a:lnTo>
                  <a:lnTo>
                    <a:pt x="417" y="26"/>
                  </a:lnTo>
                  <a:lnTo>
                    <a:pt x="410" y="20"/>
                  </a:lnTo>
                  <a:lnTo>
                    <a:pt x="403" y="15"/>
                  </a:lnTo>
                  <a:lnTo>
                    <a:pt x="394" y="11"/>
                  </a:lnTo>
                  <a:lnTo>
                    <a:pt x="384" y="6"/>
                  </a:lnTo>
                  <a:lnTo>
                    <a:pt x="375" y="4"/>
                  </a:lnTo>
                  <a:lnTo>
                    <a:pt x="365" y="2"/>
                  </a:lnTo>
                  <a:lnTo>
                    <a:pt x="354" y="0"/>
                  </a:lnTo>
                  <a:lnTo>
                    <a:pt x="343" y="0"/>
                  </a:lnTo>
                  <a:lnTo>
                    <a:pt x="34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3861">
              <a:extLst>
                <a:ext uri="{FF2B5EF4-FFF2-40B4-BE49-F238E27FC236}">
                  <a16:creationId xmlns:a16="http://schemas.microsoft.com/office/drawing/2014/main" id="{4B01A3D3-B643-4BD1-8BA7-386BE575CEA1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2825" y="2659063"/>
              <a:ext cx="46038" cy="46038"/>
            </a:xfrm>
            <a:custGeom>
              <a:avLst/>
              <a:gdLst>
                <a:gd name="T0" fmla="*/ 2 w 144"/>
                <a:gd name="T1" fmla="*/ 132 h 143"/>
                <a:gd name="T2" fmla="*/ 4 w 144"/>
                <a:gd name="T3" fmla="*/ 137 h 143"/>
                <a:gd name="T4" fmla="*/ 7 w 144"/>
                <a:gd name="T5" fmla="*/ 140 h 143"/>
                <a:gd name="T6" fmla="*/ 12 w 144"/>
                <a:gd name="T7" fmla="*/ 143 h 143"/>
                <a:gd name="T8" fmla="*/ 19 w 144"/>
                <a:gd name="T9" fmla="*/ 143 h 143"/>
                <a:gd name="T10" fmla="*/ 24 w 144"/>
                <a:gd name="T11" fmla="*/ 140 h 143"/>
                <a:gd name="T12" fmla="*/ 28 w 144"/>
                <a:gd name="T13" fmla="*/ 137 h 143"/>
                <a:gd name="T14" fmla="*/ 31 w 144"/>
                <a:gd name="T15" fmla="*/ 132 h 143"/>
                <a:gd name="T16" fmla="*/ 32 w 144"/>
                <a:gd name="T17" fmla="*/ 118 h 143"/>
                <a:gd name="T18" fmla="*/ 35 w 144"/>
                <a:gd name="T19" fmla="*/ 98 h 143"/>
                <a:gd name="T20" fmla="*/ 42 w 144"/>
                <a:gd name="T21" fmla="*/ 81 h 143"/>
                <a:gd name="T22" fmla="*/ 53 w 144"/>
                <a:gd name="T23" fmla="*/ 65 h 143"/>
                <a:gd name="T24" fmla="*/ 67 w 144"/>
                <a:gd name="T25" fmla="*/ 52 h 143"/>
                <a:gd name="T26" fmla="*/ 82 w 144"/>
                <a:gd name="T27" fmla="*/ 41 h 143"/>
                <a:gd name="T28" fmla="*/ 100 w 144"/>
                <a:gd name="T29" fmla="*/ 34 h 143"/>
                <a:gd name="T30" fmla="*/ 120 w 144"/>
                <a:gd name="T31" fmla="*/ 30 h 143"/>
                <a:gd name="T32" fmla="*/ 132 w 144"/>
                <a:gd name="T33" fmla="*/ 30 h 143"/>
                <a:gd name="T34" fmla="*/ 138 w 144"/>
                <a:gd name="T35" fmla="*/ 26 h 143"/>
                <a:gd name="T36" fmla="*/ 142 w 144"/>
                <a:gd name="T37" fmla="*/ 23 h 143"/>
                <a:gd name="T38" fmla="*/ 144 w 144"/>
                <a:gd name="T39" fmla="*/ 18 h 143"/>
                <a:gd name="T40" fmla="*/ 144 w 144"/>
                <a:gd name="T41" fmla="*/ 11 h 143"/>
                <a:gd name="T42" fmla="*/ 142 w 144"/>
                <a:gd name="T43" fmla="*/ 6 h 143"/>
                <a:gd name="T44" fmla="*/ 138 w 144"/>
                <a:gd name="T45" fmla="*/ 2 h 143"/>
                <a:gd name="T46" fmla="*/ 132 w 144"/>
                <a:gd name="T47" fmla="*/ 0 h 143"/>
                <a:gd name="T48" fmla="*/ 116 w 144"/>
                <a:gd name="T49" fmla="*/ 0 h 143"/>
                <a:gd name="T50" fmla="*/ 92 w 144"/>
                <a:gd name="T51" fmla="*/ 5 h 143"/>
                <a:gd name="T52" fmla="*/ 68 w 144"/>
                <a:gd name="T53" fmla="*/ 15 h 143"/>
                <a:gd name="T54" fmla="*/ 48 w 144"/>
                <a:gd name="T55" fmla="*/ 29 h 143"/>
                <a:gd name="T56" fmla="*/ 31 w 144"/>
                <a:gd name="T57" fmla="*/ 46 h 143"/>
                <a:gd name="T58" fmla="*/ 17 w 144"/>
                <a:gd name="T59" fmla="*/ 67 h 143"/>
                <a:gd name="T60" fmla="*/ 7 w 144"/>
                <a:gd name="T61" fmla="*/ 90 h 143"/>
                <a:gd name="T62" fmla="*/ 2 w 144"/>
                <a:gd name="T63" fmla="*/ 115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4" h="143">
                  <a:moveTo>
                    <a:pt x="0" y="128"/>
                  </a:moveTo>
                  <a:lnTo>
                    <a:pt x="2" y="132"/>
                  </a:lnTo>
                  <a:lnTo>
                    <a:pt x="2" y="134"/>
                  </a:lnTo>
                  <a:lnTo>
                    <a:pt x="4" y="137"/>
                  </a:lnTo>
                  <a:lnTo>
                    <a:pt x="5" y="139"/>
                  </a:lnTo>
                  <a:lnTo>
                    <a:pt x="7" y="140"/>
                  </a:lnTo>
                  <a:lnTo>
                    <a:pt x="10" y="142"/>
                  </a:lnTo>
                  <a:lnTo>
                    <a:pt x="12" y="143"/>
                  </a:lnTo>
                  <a:lnTo>
                    <a:pt x="15" y="143"/>
                  </a:lnTo>
                  <a:lnTo>
                    <a:pt x="19" y="143"/>
                  </a:lnTo>
                  <a:lnTo>
                    <a:pt x="22" y="142"/>
                  </a:lnTo>
                  <a:lnTo>
                    <a:pt x="24" y="140"/>
                  </a:lnTo>
                  <a:lnTo>
                    <a:pt x="26" y="139"/>
                  </a:lnTo>
                  <a:lnTo>
                    <a:pt x="28" y="137"/>
                  </a:lnTo>
                  <a:lnTo>
                    <a:pt x="29" y="134"/>
                  </a:lnTo>
                  <a:lnTo>
                    <a:pt x="31" y="132"/>
                  </a:lnTo>
                  <a:lnTo>
                    <a:pt x="31" y="128"/>
                  </a:lnTo>
                  <a:lnTo>
                    <a:pt x="32" y="118"/>
                  </a:lnTo>
                  <a:lnTo>
                    <a:pt x="33" y="108"/>
                  </a:lnTo>
                  <a:lnTo>
                    <a:pt x="35" y="98"/>
                  </a:lnTo>
                  <a:lnTo>
                    <a:pt x="39" y="90"/>
                  </a:lnTo>
                  <a:lnTo>
                    <a:pt x="42" y="81"/>
                  </a:lnTo>
                  <a:lnTo>
                    <a:pt x="48" y="73"/>
                  </a:lnTo>
                  <a:lnTo>
                    <a:pt x="53" y="65"/>
                  </a:lnTo>
                  <a:lnTo>
                    <a:pt x="59" y="59"/>
                  </a:lnTo>
                  <a:lnTo>
                    <a:pt x="67" y="52"/>
                  </a:lnTo>
                  <a:lnTo>
                    <a:pt x="74" y="47"/>
                  </a:lnTo>
                  <a:lnTo>
                    <a:pt x="82" y="41"/>
                  </a:lnTo>
                  <a:lnTo>
                    <a:pt x="92" y="37"/>
                  </a:lnTo>
                  <a:lnTo>
                    <a:pt x="100" y="34"/>
                  </a:lnTo>
                  <a:lnTo>
                    <a:pt x="110" y="32"/>
                  </a:lnTo>
                  <a:lnTo>
                    <a:pt x="120" y="30"/>
                  </a:lnTo>
                  <a:lnTo>
                    <a:pt x="129" y="30"/>
                  </a:lnTo>
                  <a:lnTo>
                    <a:pt x="132" y="30"/>
                  </a:lnTo>
                  <a:lnTo>
                    <a:pt x="136" y="29"/>
                  </a:lnTo>
                  <a:lnTo>
                    <a:pt x="138" y="26"/>
                  </a:lnTo>
                  <a:lnTo>
                    <a:pt x="140" y="25"/>
                  </a:lnTo>
                  <a:lnTo>
                    <a:pt x="142" y="23"/>
                  </a:lnTo>
                  <a:lnTo>
                    <a:pt x="143" y="20"/>
                  </a:lnTo>
                  <a:lnTo>
                    <a:pt x="144" y="18"/>
                  </a:lnTo>
                  <a:lnTo>
                    <a:pt x="144" y="15"/>
                  </a:lnTo>
                  <a:lnTo>
                    <a:pt x="144" y="11"/>
                  </a:lnTo>
                  <a:lnTo>
                    <a:pt x="143" y="8"/>
                  </a:lnTo>
                  <a:lnTo>
                    <a:pt x="142" y="6"/>
                  </a:lnTo>
                  <a:lnTo>
                    <a:pt x="140" y="4"/>
                  </a:lnTo>
                  <a:lnTo>
                    <a:pt x="138" y="2"/>
                  </a:lnTo>
                  <a:lnTo>
                    <a:pt x="136" y="1"/>
                  </a:lnTo>
                  <a:lnTo>
                    <a:pt x="132" y="0"/>
                  </a:lnTo>
                  <a:lnTo>
                    <a:pt x="129" y="0"/>
                  </a:lnTo>
                  <a:lnTo>
                    <a:pt x="116" y="0"/>
                  </a:lnTo>
                  <a:lnTo>
                    <a:pt x="103" y="2"/>
                  </a:lnTo>
                  <a:lnTo>
                    <a:pt x="92" y="5"/>
                  </a:lnTo>
                  <a:lnTo>
                    <a:pt x="80" y="9"/>
                  </a:lnTo>
                  <a:lnTo>
                    <a:pt x="68" y="15"/>
                  </a:lnTo>
                  <a:lnTo>
                    <a:pt x="57" y="21"/>
                  </a:lnTo>
                  <a:lnTo>
                    <a:pt x="48" y="29"/>
                  </a:lnTo>
                  <a:lnTo>
                    <a:pt x="38" y="37"/>
                  </a:lnTo>
                  <a:lnTo>
                    <a:pt x="31" y="46"/>
                  </a:lnTo>
                  <a:lnTo>
                    <a:pt x="23" y="56"/>
                  </a:lnTo>
                  <a:lnTo>
                    <a:pt x="17" y="67"/>
                  </a:lnTo>
                  <a:lnTo>
                    <a:pt x="11" y="78"/>
                  </a:lnTo>
                  <a:lnTo>
                    <a:pt x="7" y="90"/>
                  </a:lnTo>
                  <a:lnTo>
                    <a:pt x="4" y="103"/>
                  </a:lnTo>
                  <a:lnTo>
                    <a:pt x="2" y="115"/>
                  </a:lnTo>
                  <a:lnTo>
                    <a:pt x="0" y="1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3862">
              <a:extLst>
                <a:ext uri="{FF2B5EF4-FFF2-40B4-BE49-F238E27FC236}">
                  <a16:creationId xmlns:a16="http://schemas.microsoft.com/office/drawing/2014/main" id="{B8ED0890-7E28-4509-AB4C-E9C743BC289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59988" y="2659063"/>
              <a:ext cx="44450" cy="46038"/>
            </a:xfrm>
            <a:custGeom>
              <a:avLst/>
              <a:gdLst>
                <a:gd name="T0" fmla="*/ 115 w 144"/>
                <a:gd name="T1" fmla="*/ 0 h 143"/>
                <a:gd name="T2" fmla="*/ 90 w 144"/>
                <a:gd name="T3" fmla="*/ 5 h 143"/>
                <a:gd name="T4" fmla="*/ 66 w 144"/>
                <a:gd name="T5" fmla="*/ 15 h 143"/>
                <a:gd name="T6" fmla="*/ 46 w 144"/>
                <a:gd name="T7" fmla="*/ 29 h 143"/>
                <a:gd name="T8" fmla="*/ 29 w 144"/>
                <a:gd name="T9" fmla="*/ 46 h 143"/>
                <a:gd name="T10" fmla="*/ 15 w 144"/>
                <a:gd name="T11" fmla="*/ 67 h 143"/>
                <a:gd name="T12" fmla="*/ 5 w 144"/>
                <a:gd name="T13" fmla="*/ 90 h 143"/>
                <a:gd name="T14" fmla="*/ 0 w 144"/>
                <a:gd name="T15" fmla="*/ 115 h 143"/>
                <a:gd name="T16" fmla="*/ 0 w 144"/>
                <a:gd name="T17" fmla="*/ 132 h 143"/>
                <a:gd name="T18" fmla="*/ 2 w 144"/>
                <a:gd name="T19" fmla="*/ 137 h 143"/>
                <a:gd name="T20" fmla="*/ 6 w 144"/>
                <a:gd name="T21" fmla="*/ 140 h 143"/>
                <a:gd name="T22" fmla="*/ 12 w 144"/>
                <a:gd name="T23" fmla="*/ 143 h 143"/>
                <a:gd name="T24" fmla="*/ 17 w 144"/>
                <a:gd name="T25" fmla="*/ 143 h 143"/>
                <a:gd name="T26" fmla="*/ 22 w 144"/>
                <a:gd name="T27" fmla="*/ 140 h 143"/>
                <a:gd name="T28" fmla="*/ 27 w 144"/>
                <a:gd name="T29" fmla="*/ 137 h 143"/>
                <a:gd name="T30" fmla="*/ 29 w 144"/>
                <a:gd name="T31" fmla="*/ 132 h 143"/>
                <a:gd name="T32" fmla="*/ 30 w 144"/>
                <a:gd name="T33" fmla="*/ 118 h 143"/>
                <a:gd name="T34" fmla="*/ 34 w 144"/>
                <a:gd name="T35" fmla="*/ 98 h 143"/>
                <a:gd name="T36" fmla="*/ 42 w 144"/>
                <a:gd name="T37" fmla="*/ 81 h 143"/>
                <a:gd name="T38" fmla="*/ 52 w 144"/>
                <a:gd name="T39" fmla="*/ 65 h 143"/>
                <a:gd name="T40" fmla="*/ 65 w 144"/>
                <a:gd name="T41" fmla="*/ 52 h 143"/>
                <a:gd name="T42" fmla="*/ 81 w 144"/>
                <a:gd name="T43" fmla="*/ 41 h 143"/>
                <a:gd name="T44" fmla="*/ 98 w 144"/>
                <a:gd name="T45" fmla="*/ 34 h 143"/>
                <a:gd name="T46" fmla="*/ 118 w 144"/>
                <a:gd name="T47" fmla="*/ 30 h 143"/>
                <a:gd name="T48" fmla="*/ 131 w 144"/>
                <a:gd name="T49" fmla="*/ 30 h 143"/>
                <a:gd name="T50" fmla="*/ 136 w 144"/>
                <a:gd name="T51" fmla="*/ 26 h 143"/>
                <a:gd name="T52" fmla="*/ 140 w 144"/>
                <a:gd name="T53" fmla="*/ 23 h 143"/>
                <a:gd name="T54" fmla="*/ 142 w 144"/>
                <a:gd name="T55" fmla="*/ 18 h 143"/>
                <a:gd name="T56" fmla="*/ 142 w 144"/>
                <a:gd name="T57" fmla="*/ 11 h 143"/>
                <a:gd name="T58" fmla="*/ 140 w 144"/>
                <a:gd name="T59" fmla="*/ 6 h 143"/>
                <a:gd name="T60" fmla="*/ 136 w 144"/>
                <a:gd name="T61" fmla="*/ 2 h 143"/>
                <a:gd name="T62" fmla="*/ 131 w 144"/>
                <a:gd name="T63" fmla="*/ 0 h 143"/>
                <a:gd name="T64" fmla="*/ 129 w 144"/>
                <a:gd name="T65" fmla="*/ 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44" h="143">
                  <a:moveTo>
                    <a:pt x="129" y="0"/>
                  </a:moveTo>
                  <a:lnTo>
                    <a:pt x="115" y="0"/>
                  </a:lnTo>
                  <a:lnTo>
                    <a:pt x="102" y="2"/>
                  </a:lnTo>
                  <a:lnTo>
                    <a:pt x="90" y="5"/>
                  </a:lnTo>
                  <a:lnTo>
                    <a:pt x="78" y="9"/>
                  </a:lnTo>
                  <a:lnTo>
                    <a:pt x="66" y="15"/>
                  </a:lnTo>
                  <a:lnTo>
                    <a:pt x="57" y="21"/>
                  </a:lnTo>
                  <a:lnTo>
                    <a:pt x="46" y="29"/>
                  </a:lnTo>
                  <a:lnTo>
                    <a:pt x="37" y="37"/>
                  </a:lnTo>
                  <a:lnTo>
                    <a:pt x="29" y="46"/>
                  </a:lnTo>
                  <a:lnTo>
                    <a:pt x="21" y="56"/>
                  </a:lnTo>
                  <a:lnTo>
                    <a:pt x="15" y="67"/>
                  </a:lnTo>
                  <a:lnTo>
                    <a:pt x="9" y="78"/>
                  </a:lnTo>
                  <a:lnTo>
                    <a:pt x="5" y="90"/>
                  </a:lnTo>
                  <a:lnTo>
                    <a:pt x="2" y="103"/>
                  </a:lnTo>
                  <a:lnTo>
                    <a:pt x="0" y="115"/>
                  </a:lnTo>
                  <a:lnTo>
                    <a:pt x="0" y="128"/>
                  </a:lnTo>
                  <a:lnTo>
                    <a:pt x="0" y="132"/>
                  </a:lnTo>
                  <a:lnTo>
                    <a:pt x="1" y="134"/>
                  </a:lnTo>
                  <a:lnTo>
                    <a:pt x="2" y="137"/>
                  </a:lnTo>
                  <a:lnTo>
                    <a:pt x="4" y="139"/>
                  </a:lnTo>
                  <a:lnTo>
                    <a:pt x="6" y="140"/>
                  </a:lnTo>
                  <a:lnTo>
                    <a:pt x="8" y="142"/>
                  </a:lnTo>
                  <a:lnTo>
                    <a:pt x="12" y="143"/>
                  </a:lnTo>
                  <a:lnTo>
                    <a:pt x="15" y="143"/>
                  </a:lnTo>
                  <a:lnTo>
                    <a:pt x="17" y="143"/>
                  </a:lnTo>
                  <a:lnTo>
                    <a:pt x="20" y="142"/>
                  </a:lnTo>
                  <a:lnTo>
                    <a:pt x="22" y="140"/>
                  </a:lnTo>
                  <a:lnTo>
                    <a:pt x="24" y="139"/>
                  </a:lnTo>
                  <a:lnTo>
                    <a:pt x="27" y="137"/>
                  </a:lnTo>
                  <a:lnTo>
                    <a:pt x="28" y="134"/>
                  </a:lnTo>
                  <a:lnTo>
                    <a:pt x="29" y="132"/>
                  </a:lnTo>
                  <a:lnTo>
                    <a:pt x="30" y="128"/>
                  </a:lnTo>
                  <a:lnTo>
                    <a:pt x="30" y="118"/>
                  </a:lnTo>
                  <a:lnTo>
                    <a:pt x="31" y="108"/>
                  </a:lnTo>
                  <a:lnTo>
                    <a:pt x="34" y="98"/>
                  </a:lnTo>
                  <a:lnTo>
                    <a:pt x="37" y="90"/>
                  </a:lnTo>
                  <a:lnTo>
                    <a:pt x="42" y="81"/>
                  </a:lnTo>
                  <a:lnTo>
                    <a:pt x="46" y="73"/>
                  </a:lnTo>
                  <a:lnTo>
                    <a:pt x="52" y="65"/>
                  </a:lnTo>
                  <a:lnTo>
                    <a:pt x="59" y="59"/>
                  </a:lnTo>
                  <a:lnTo>
                    <a:pt x="65" y="52"/>
                  </a:lnTo>
                  <a:lnTo>
                    <a:pt x="73" y="47"/>
                  </a:lnTo>
                  <a:lnTo>
                    <a:pt x="81" y="41"/>
                  </a:lnTo>
                  <a:lnTo>
                    <a:pt x="90" y="37"/>
                  </a:lnTo>
                  <a:lnTo>
                    <a:pt x="98" y="34"/>
                  </a:lnTo>
                  <a:lnTo>
                    <a:pt x="108" y="32"/>
                  </a:lnTo>
                  <a:lnTo>
                    <a:pt x="118" y="30"/>
                  </a:lnTo>
                  <a:lnTo>
                    <a:pt x="129" y="30"/>
                  </a:lnTo>
                  <a:lnTo>
                    <a:pt x="131" y="30"/>
                  </a:lnTo>
                  <a:lnTo>
                    <a:pt x="134" y="29"/>
                  </a:lnTo>
                  <a:lnTo>
                    <a:pt x="136" y="26"/>
                  </a:lnTo>
                  <a:lnTo>
                    <a:pt x="138" y="25"/>
                  </a:lnTo>
                  <a:lnTo>
                    <a:pt x="140" y="23"/>
                  </a:lnTo>
                  <a:lnTo>
                    <a:pt x="141" y="20"/>
                  </a:lnTo>
                  <a:lnTo>
                    <a:pt x="142" y="18"/>
                  </a:lnTo>
                  <a:lnTo>
                    <a:pt x="144" y="15"/>
                  </a:lnTo>
                  <a:lnTo>
                    <a:pt x="142" y="11"/>
                  </a:lnTo>
                  <a:lnTo>
                    <a:pt x="141" y="8"/>
                  </a:lnTo>
                  <a:lnTo>
                    <a:pt x="140" y="6"/>
                  </a:lnTo>
                  <a:lnTo>
                    <a:pt x="138" y="4"/>
                  </a:lnTo>
                  <a:lnTo>
                    <a:pt x="136" y="2"/>
                  </a:lnTo>
                  <a:lnTo>
                    <a:pt x="134" y="1"/>
                  </a:lnTo>
                  <a:lnTo>
                    <a:pt x="131" y="0"/>
                  </a:lnTo>
                  <a:lnTo>
                    <a:pt x="129" y="0"/>
                  </a:lnTo>
                  <a:lnTo>
                    <a:pt x="1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72" name="Rectangle 5">
            <a:extLst>
              <a:ext uri="{FF2B5EF4-FFF2-40B4-BE49-F238E27FC236}">
                <a16:creationId xmlns:a16="http://schemas.microsoft.com/office/drawing/2014/main" id="{65BA0589-0D92-4822-B189-9DA53A2E87C8}"/>
              </a:ext>
            </a:extLst>
          </p:cNvPr>
          <p:cNvSpPr/>
          <p:nvPr/>
        </p:nvSpPr>
        <p:spPr>
          <a:xfrm>
            <a:off x="-145143" y="632389"/>
            <a:ext cx="12482286" cy="6089086"/>
          </a:xfrm>
          <a:custGeom>
            <a:avLst/>
            <a:gdLst>
              <a:gd name="connsiteX0" fmla="*/ 0 w 11582400"/>
              <a:gd name="connsiteY0" fmla="*/ 0 h 6073775"/>
              <a:gd name="connsiteX1" fmla="*/ 11582400 w 11582400"/>
              <a:gd name="connsiteY1" fmla="*/ 0 h 6073775"/>
              <a:gd name="connsiteX2" fmla="*/ 11582400 w 11582400"/>
              <a:gd name="connsiteY2" fmla="*/ 6073775 h 6073775"/>
              <a:gd name="connsiteX3" fmla="*/ 0 w 11582400"/>
              <a:gd name="connsiteY3" fmla="*/ 6073775 h 6073775"/>
              <a:gd name="connsiteX4" fmla="*/ 0 w 11582400"/>
              <a:gd name="connsiteY4" fmla="*/ 0 h 6073775"/>
              <a:gd name="connsiteX0" fmla="*/ 0 w 11582400"/>
              <a:gd name="connsiteY0" fmla="*/ 6765 h 6080540"/>
              <a:gd name="connsiteX1" fmla="*/ 8309361 w 11582400"/>
              <a:gd name="connsiteY1" fmla="*/ 0 h 6080540"/>
              <a:gd name="connsiteX2" fmla="*/ 11582400 w 11582400"/>
              <a:gd name="connsiteY2" fmla="*/ 6765 h 6080540"/>
              <a:gd name="connsiteX3" fmla="*/ 11582400 w 11582400"/>
              <a:gd name="connsiteY3" fmla="*/ 6080540 h 6080540"/>
              <a:gd name="connsiteX4" fmla="*/ 0 w 11582400"/>
              <a:gd name="connsiteY4" fmla="*/ 6080540 h 6080540"/>
              <a:gd name="connsiteX5" fmla="*/ 0 w 11582400"/>
              <a:gd name="connsiteY5" fmla="*/ 6765 h 6080540"/>
              <a:gd name="connsiteX0" fmla="*/ 0 w 11582400"/>
              <a:gd name="connsiteY0" fmla="*/ 15311 h 6089086"/>
              <a:gd name="connsiteX1" fmla="*/ 3267342 w 11582400"/>
              <a:gd name="connsiteY1" fmla="*/ 0 h 6089086"/>
              <a:gd name="connsiteX2" fmla="*/ 8309361 w 11582400"/>
              <a:gd name="connsiteY2" fmla="*/ 8546 h 6089086"/>
              <a:gd name="connsiteX3" fmla="*/ 11582400 w 11582400"/>
              <a:gd name="connsiteY3" fmla="*/ 15311 h 6089086"/>
              <a:gd name="connsiteX4" fmla="*/ 11582400 w 11582400"/>
              <a:gd name="connsiteY4" fmla="*/ 6089086 h 6089086"/>
              <a:gd name="connsiteX5" fmla="*/ 0 w 11582400"/>
              <a:gd name="connsiteY5" fmla="*/ 6089086 h 6089086"/>
              <a:gd name="connsiteX6" fmla="*/ 0 w 11582400"/>
              <a:gd name="connsiteY6" fmla="*/ 15311 h 6089086"/>
              <a:gd name="connsiteX0" fmla="*/ 0 w 11582400"/>
              <a:gd name="connsiteY0" fmla="*/ 23857 h 6097632"/>
              <a:gd name="connsiteX1" fmla="*/ 3267342 w 11582400"/>
              <a:gd name="connsiteY1" fmla="*/ 8546 h 6097632"/>
              <a:gd name="connsiteX2" fmla="*/ 5386699 w 11582400"/>
              <a:gd name="connsiteY2" fmla="*/ 0 h 6097632"/>
              <a:gd name="connsiteX3" fmla="*/ 8309361 w 11582400"/>
              <a:gd name="connsiteY3" fmla="*/ 17092 h 6097632"/>
              <a:gd name="connsiteX4" fmla="*/ 11582400 w 11582400"/>
              <a:gd name="connsiteY4" fmla="*/ 23857 h 6097632"/>
              <a:gd name="connsiteX5" fmla="*/ 11582400 w 11582400"/>
              <a:gd name="connsiteY5" fmla="*/ 6097632 h 6097632"/>
              <a:gd name="connsiteX6" fmla="*/ 0 w 11582400"/>
              <a:gd name="connsiteY6" fmla="*/ 6097632 h 6097632"/>
              <a:gd name="connsiteX7" fmla="*/ 0 w 11582400"/>
              <a:gd name="connsiteY7" fmla="*/ 23857 h 6097632"/>
              <a:gd name="connsiteX0" fmla="*/ 5386699 w 11582400"/>
              <a:gd name="connsiteY0" fmla="*/ 0 h 6097632"/>
              <a:gd name="connsiteX1" fmla="*/ 8309361 w 11582400"/>
              <a:gd name="connsiteY1" fmla="*/ 17092 h 6097632"/>
              <a:gd name="connsiteX2" fmla="*/ 11582400 w 11582400"/>
              <a:gd name="connsiteY2" fmla="*/ 23857 h 6097632"/>
              <a:gd name="connsiteX3" fmla="*/ 11582400 w 11582400"/>
              <a:gd name="connsiteY3" fmla="*/ 6097632 h 6097632"/>
              <a:gd name="connsiteX4" fmla="*/ 0 w 11582400"/>
              <a:gd name="connsiteY4" fmla="*/ 6097632 h 6097632"/>
              <a:gd name="connsiteX5" fmla="*/ 0 w 11582400"/>
              <a:gd name="connsiteY5" fmla="*/ 23857 h 6097632"/>
              <a:gd name="connsiteX6" fmla="*/ 3267342 w 11582400"/>
              <a:gd name="connsiteY6" fmla="*/ 8546 h 6097632"/>
              <a:gd name="connsiteX7" fmla="*/ 5478139 w 11582400"/>
              <a:gd name="connsiteY7" fmla="*/ 91440 h 6097632"/>
              <a:gd name="connsiteX0" fmla="*/ 8309361 w 11582400"/>
              <a:gd name="connsiteY0" fmla="*/ 8616 h 6089156"/>
              <a:gd name="connsiteX1" fmla="*/ 11582400 w 11582400"/>
              <a:gd name="connsiteY1" fmla="*/ 15381 h 6089156"/>
              <a:gd name="connsiteX2" fmla="*/ 11582400 w 11582400"/>
              <a:gd name="connsiteY2" fmla="*/ 6089156 h 6089156"/>
              <a:gd name="connsiteX3" fmla="*/ 0 w 11582400"/>
              <a:gd name="connsiteY3" fmla="*/ 6089156 h 6089156"/>
              <a:gd name="connsiteX4" fmla="*/ 0 w 11582400"/>
              <a:gd name="connsiteY4" fmla="*/ 15381 h 6089156"/>
              <a:gd name="connsiteX5" fmla="*/ 3267342 w 11582400"/>
              <a:gd name="connsiteY5" fmla="*/ 70 h 6089156"/>
              <a:gd name="connsiteX6" fmla="*/ 5478139 w 11582400"/>
              <a:gd name="connsiteY6" fmla="*/ 82964 h 6089156"/>
              <a:gd name="connsiteX0" fmla="*/ 8309361 w 11582400"/>
              <a:gd name="connsiteY0" fmla="*/ 8546 h 6089086"/>
              <a:gd name="connsiteX1" fmla="*/ 11582400 w 11582400"/>
              <a:gd name="connsiteY1" fmla="*/ 15311 h 6089086"/>
              <a:gd name="connsiteX2" fmla="*/ 11582400 w 11582400"/>
              <a:gd name="connsiteY2" fmla="*/ 6089086 h 6089086"/>
              <a:gd name="connsiteX3" fmla="*/ 0 w 11582400"/>
              <a:gd name="connsiteY3" fmla="*/ 6089086 h 6089086"/>
              <a:gd name="connsiteX4" fmla="*/ 0 w 11582400"/>
              <a:gd name="connsiteY4" fmla="*/ 15311 h 6089086"/>
              <a:gd name="connsiteX5" fmla="*/ 3267342 w 11582400"/>
              <a:gd name="connsiteY5" fmla="*/ 0 h 60890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582400" h="6089086">
                <a:moveTo>
                  <a:pt x="8309361" y="8546"/>
                </a:moveTo>
                <a:lnTo>
                  <a:pt x="11582400" y="15311"/>
                </a:lnTo>
                <a:lnTo>
                  <a:pt x="11582400" y="6089086"/>
                </a:lnTo>
                <a:lnTo>
                  <a:pt x="0" y="6089086"/>
                </a:lnTo>
                <a:lnTo>
                  <a:pt x="0" y="15311"/>
                </a:lnTo>
                <a:lnTo>
                  <a:pt x="3267342" y="0"/>
                </a:lnTo>
              </a:path>
            </a:pathLst>
          </a:custGeom>
          <a:noFill/>
          <a:ln w="6350">
            <a:solidFill>
              <a:schemeClr val="accent2"/>
            </a:solidFill>
            <a:headEnd type="oval"/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896051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9DFF9D8D-381E-4AB5-A05F-86D86CF2A953}"/>
              </a:ext>
            </a:extLst>
          </p:cNvPr>
          <p:cNvSpPr/>
          <p:nvPr/>
        </p:nvSpPr>
        <p:spPr>
          <a:xfrm>
            <a:off x="-145143" y="632389"/>
            <a:ext cx="12482286" cy="6089086"/>
          </a:xfrm>
          <a:custGeom>
            <a:avLst/>
            <a:gdLst>
              <a:gd name="connsiteX0" fmla="*/ 0 w 11582400"/>
              <a:gd name="connsiteY0" fmla="*/ 0 h 6073775"/>
              <a:gd name="connsiteX1" fmla="*/ 11582400 w 11582400"/>
              <a:gd name="connsiteY1" fmla="*/ 0 h 6073775"/>
              <a:gd name="connsiteX2" fmla="*/ 11582400 w 11582400"/>
              <a:gd name="connsiteY2" fmla="*/ 6073775 h 6073775"/>
              <a:gd name="connsiteX3" fmla="*/ 0 w 11582400"/>
              <a:gd name="connsiteY3" fmla="*/ 6073775 h 6073775"/>
              <a:gd name="connsiteX4" fmla="*/ 0 w 11582400"/>
              <a:gd name="connsiteY4" fmla="*/ 0 h 6073775"/>
              <a:gd name="connsiteX0" fmla="*/ 0 w 11582400"/>
              <a:gd name="connsiteY0" fmla="*/ 6765 h 6080540"/>
              <a:gd name="connsiteX1" fmla="*/ 8309361 w 11582400"/>
              <a:gd name="connsiteY1" fmla="*/ 0 h 6080540"/>
              <a:gd name="connsiteX2" fmla="*/ 11582400 w 11582400"/>
              <a:gd name="connsiteY2" fmla="*/ 6765 h 6080540"/>
              <a:gd name="connsiteX3" fmla="*/ 11582400 w 11582400"/>
              <a:gd name="connsiteY3" fmla="*/ 6080540 h 6080540"/>
              <a:gd name="connsiteX4" fmla="*/ 0 w 11582400"/>
              <a:gd name="connsiteY4" fmla="*/ 6080540 h 6080540"/>
              <a:gd name="connsiteX5" fmla="*/ 0 w 11582400"/>
              <a:gd name="connsiteY5" fmla="*/ 6765 h 6080540"/>
              <a:gd name="connsiteX0" fmla="*/ 0 w 11582400"/>
              <a:gd name="connsiteY0" fmla="*/ 15311 h 6089086"/>
              <a:gd name="connsiteX1" fmla="*/ 3267342 w 11582400"/>
              <a:gd name="connsiteY1" fmla="*/ 0 h 6089086"/>
              <a:gd name="connsiteX2" fmla="*/ 8309361 w 11582400"/>
              <a:gd name="connsiteY2" fmla="*/ 8546 h 6089086"/>
              <a:gd name="connsiteX3" fmla="*/ 11582400 w 11582400"/>
              <a:gd name="connsiteY3" fmla="*/ 15311 h 6089086"/>
              <a:gd name="connsiteX4" fmla="*/ 11582400 w 11582400"/>
              <a:gd name="connsiteY4" fmla="*/ 6089086 h 6089086"/>
              <a:gd name="connsiteX5" fmla="*/ 0 w 11582400"/>
              <a:gd name="connsiteY5" fmla="*/ 6089086 h 6089086"/>
              <a:gd name="connsiteX6" fmla="*/ 0 w 11582400"/>
              <a:gd name="connsiteY6" fmla="*/ 15311 h 6089086"/>
              <a:gd name="connsiteX0" fmla="*/ 0 w 11582400"/>
              <a:gd name="connsiteY0" fmla="*/ 23857 h 6097632"/>
              <a:gd name="connsiteX1" fmla="*/ 3267342 w 11582400"/>
              <a:gd name="connsiteY1" fmla="*/ 8546 h 6097632"/>
              <a:gd name="connsiteX2" fmla="*/ 5386699 w 11582400"/>
              <a:gd name="connsiteY2" fmla="*/ 0 h 6097632"/>
              <a:gd name="connsiteX3" fmla="*/ 8309361 w 11582400"/>
              <a:gd name="connsiteY3" fmla="*/ 17092 h 6097632"/>
              <a:gd name="connsiteX4" fmla="*/ 11582400 w 11582400"/>
              <a:gd name="connsiteY4" fmla="*/ 23857 h 6097632"/>
              <a:gd name="connsiteX5" fmla="*/ 11582400 w 11582400"/>
              <a:gd name="connsiteY5" fmla="*/ 6097632 h 6097632"/>
              <a:gd name="connsiteX6" fmla="*/ 0 w 11582400"/>
              <a:gd name="connsiteY6" fmla="*/ 6097632 h 6097632"/>
              <a:gd name="connsiteX7" fmla="*/ 0 w 11582400"/>
              <a:gd name="connsiteY7" fmla="*/ 23857 h 6097632"/>
              <a:gd name="connsiteX0" fmla="*/ 5386699 w 11582400"/>
              <a:gd name="connsiteY0" fmla="*/ 0 h 6097632"/>
              <a:gd name="connsiteX1" fmla="*/ 8309361 w 11582400"/>
              <a:gd name="connsiteY1" fmla="*/ 17092 h 6097632"/>
              <a:gd name="connsiteX2" fmla="*/ 11582400 w 11582400"/>
              <a:gd name="connsiteY2" fmla="*/ 23857 h 6097632"/>
              <a:gd name="connsiteX3" fmla="*/ 11582400 w 11582400"/>
              <a:gd name="connsiteY3" fmla="*/ 6097632 h 6097632"/>
              <a:gd name="connsiteX4" fmla="*/ 0 w 11582400"/>
              <a:gd name="connsiteY4" fmla="*/ 6097632 h 6097632"/>
              <a:gd name="connsiteX5" fmla="*/ 0 w 11582400"/>
              <a:gd name="connsiteY5" fmla="*/ 23857 h 6097632"/>
              <a:gd name="connsiteX6" fmla="*/ 3267342 w 11582400"/>
              <a:gd name="connsiteY6" fmla="*/ 8546 h 6097632"/>
              <a:gd name="connsiteX7" fmla="*/ 5478139 w 11582400"/>
              <a:gd name="connsiteY7" fmla="*/ 91440 h 6097632"/>
              <a:gd name="connsiteX0" fmla="*/ 8309361 w 11582400"/>
              <a:gd name="connsiteY0" fmla="*/ 8616 h 6089156"/>
              <a:gd name="connsiteX1" fmla="*/ 11582400 w 11582400"/>
              <a:gd name="connsiteY1" fmla="*/ 15381 h 6089156"/>
              <a:gd name="connsiteX2" fmla="*/ 11582400 w 11582400"/>
              <a:gd name="connsiteY2" fmla="*/ 6089156 h 6089156"/>
              <a:gd name="connsiteX3" fmla="*/ 0 w 11582400"/>
              <a:gd name="connsiteY3" fmla="*/ 6089156 h 6089156"/>
              <a:gd name="connsiteX4" fmla="*/ 0 w 11582400"/>
              <a:gd name="connsiteY4" fmla="*/ 15381 h 6089156"/>
              <a:gd name="connsiteX5" fmla="*/ 3267342 w 11582400"/>
              <a:gd name="connsiteY5" fmla="*/ 70 h 6089156"/>
              <a:gd name="connsiteX6" fmla="*/ 5478139 w 11582400"/>
              <a:gd name="connsiteY6" fmla="*/ 82964 h 6089156"/>
              <a:gd name="connsiteX0" fmla="*/ 8309361 w 11582400"/>
              <a:gd name="connsiteY0" fmla="*/ 8546 h 6089086"/>
              <a:gd name="connsiteX1" fmla="*/ 11582400 w 11582400"/>
              <a:gd name="connsiteY1" fmla="*/ 15311 h 6089086"/>
              <a:gd name="connsiteX2" fmla="*/ 11582400 w 11582400"/>
              <a:gd name="connsiteY2" fmla="*/ 6089086 h 6089086"/>
              <a:gd name="connsiteX3" fmla="*/ 0 w 11582400"/>
              <a:gd name="connsiteY3" fmla="*/ 6089086 h 6089086"/>
              <a:gd name="connsiteX4" fmla="*/ 0 w 11582400"/>
              <a:gd name="connsiteY4" fmla="*/ 15311 h 6089086"/>
              <a:gd name="connsiteX5" fmla="*/ 3267342 w 11582400"/>
              <a:gd name="connsiteY5" fmla="*/ 0 h 6089086"/>
              <a:gd name="connsiteX0" fmla="*/ 8309361 w 11582400"/>
              <a:gd name="connsiteY0" fmla="*/ 8546 h 6089086"/>
              <a:gd name="connsiteX1" fmla="*/ 11582400 w 11582400"/>
              <a:gd name="connsiteY1" fmla="*/ 15311 h 6089086"/>
              <a:gd name="connsiteX2" fmla="*/ 11582400 w 11582400"/>
              <a:gd name="connsiteY2" fmla="*/ 2923611 h 6089086"/>
              <a:gd name="connsiteX3" fmla="*/ 11582400 w 11582400"/>
              <a:gd name="connsiteY3" fmla="*/ 6089086 h 6089086"/>
              <a:gd name="connsiteX4" fmla="*/ 0 w 11582400"/>
              <a:gd name="connsiteY4" fmla="*/ 6089086 h 6089086"/>
              <a:gd name="connsiteX5" fmla="*/ 0 w 11582400"/>
              <a:gd name="connsiteY5" fmla="*/ 15311 h 6089086"/>
              <a:gd name="connsiteX6" fmla="*/ 3267342 w 11582400"/>
              <a:gd name="connsiteY6" fmla="*/ 0 h 6089086"/>
              <a:gd name="connsiteX0" fmla="*/ 8309361 w 11582400"/>
              <a:gd name="connsiteY0" fmla="*/ 8546 h 6089086"/>
              <a:gd name="connsiteX1" fmla="*/ 11582400 w 11582400"/>
              <a:gd name="connsiteY1" fmla="*/ 15311 h 6089086"/>
              <a:gd name="connsiteX2" fmla="*/ 11582400 w 11582400"/>
              <a:gd name="connsiteY2" fmla="*/ 6089086 h 6089086"/>
              <a:gd name="connsiteX3" fmla="*/ 0 w 11582400"/>
              <a:gd name="connsiteY3" fmla="*/ 6089086 h 6089086"/>
              <a:gd name="connsiteX4" fmla="*/ 0 w 11582400"/>
              <a:gd name="connsiteY4" fmla="*/ 15311 h 6089086"/>
              <a:gd name="connsiteX5" fmla="*/ 3267342 w 11582400"/>
              <a:gd name="connsiteY5" fmla="*/ 0 h 60890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582400" h="6089086">
                <a:moveTo>
                  <a:pt x="8309361" y="8546"/>
                </a:moveTo>
                <a:lnTo>
                  <a:pt x="11582400" y="15311"/>
                </a:lnTo>
                <a:lnTo>
                  <a:pt x="11582400" y="6089086"/>
                </a:lnTo>
                <a:lnTo>
                  <a:pt x="0" y="6089086"/>
                </a:lnTo>
                <a:lnTo>
                  <a:pt x="0" y="15311"/>
                </a:lnTo>
                <a:lnTo>
                  <a:pt x="3267342" y="0"/>
                </a:lnTo>
              </a:path>
            </a:pathLst>
          </a:custGeom>
          <a:noFill/>
          <a:ln w="6350">
            <a:solidFill>
              <a:schemeClr val="accent2"/>
            </a:solidFill>
            <a:headEnd type="oval"/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094B0E2-52F1-47A9-B0CD-64F57F5DE476}"/>
              </a:ext>
            </a:extLst>
          </p:cNvPr>
          <p:cNvSpPr txBox="1"/>
          <p:nvPr/>
        </p:nvSpPr>
        <p:spPr>
          <a:xfrm>
            <a:off x="190500" y="241300"/>
            <a:ext cx="11811000" cy="8002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3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rPr>
              <a:t>Project Management</a:t>
            </a:r>
          </a:p>
          <a:p>
            <a:pPr algn="ctr"/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rPr>
              <a:t>Template Pack</a:t>
            </a:r>
            <a:endParaRPr lang="id-ID" sz="20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ABA8D8A-3C74-47D4-9A47-6C113AB1DC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65069E-FEA1-427A-A048-CF60E8D1D63F}" type="datetime1">
              <a:rPr lang="en-US" sz="1000" smtClean="0"/>
              <a:t>5/8/2019</a:t>
            </a:fld>
            <a:endParaRPr lang="en-US" sz="10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28A193C-DE62-45B9-BC6C-339547738B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EFC3F0-C584-483B-B1FE-52BE924CB19D}" type="slidenum">
              <a:rPr lang="en-US" sz="1000" smtClean="0"/>
              <a:t>6</a:t>
            </a:fld>
            <a:endParaRPr lang="en-US" sz="100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448DE74A-CE97-4CCB-B2AB-8467741FDD4F}"/>
              </a:ext>
            </a:extLst>
          </p:cNvPr>
          <p:cNvSpPr/>
          <p:nvPr/>
        </p:nvSpPr>
        <p:spPr>
          <a:xfrm>
            <a:off x="712184" y="2140934"/>
            <a:ext cx="1452182" cy="1452182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PHASE </a:t>
            </a:r>
            <a:r>
              <a:rPr lang="en-US" sz="2800" dirty="0"/>
              <a:t>1</a:t>
            </a: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6B7C4238-3D66-491C-BE2A-E2B7A9AF9504}"/>
              </a:ext>
            </a:extLst>
          </p:cNvPr>
          <p:cNvSpPr/>
          <p:nvPr/>
        </p:nvSpPr>
        <p:spPr>
          <a:xfrm>
            <a:off x="2588609" y="3880953"/>
            <a:ext cx="1452182" cy="1452182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PHASE</a:t>
            </a:r>
            <a:r>
              <a:rPr lang="en-US" dirty="0"/>
              <a:t> </a:t>
            </a:r>
            <a:r>
              <a:rPr lang="en-US" sz="2800" dirty="0"/>
              <a:t>2</a:t>
            </a:r>
          </a:p>
        </p:txBody>
      </p:sp>
      <p:sp>
        <p:nvSpPr>
          <p:cNvPr id="72" name="Oval 71">
            <a:extLst>
              <a:ext uri="{FF2B5EF4-FFF2-40B4-BE49-F238E27FC236}">
                <a16:creationId xmlns:a16="http://schemas.microsoft.com/office/drawing/2014/main" id="{461C527A-D6C3-4C95-9952-A0FD820BFAA4}"/>
              </a:ext>
            </a:extLst>
          </p:cNvPr>
          <p:cNvSpPr/>
          <p:nvPr/>
        </p:nvSpPr>
        <p:spPr>
          <a:xfrm>
            <a:off x="4465034" y="2140934"/>
            <a:ext cx="1452182" cy="1452182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PHASE</a:t>
            </a:r>
            <a:r>
              <a:rPr lang="en-US" dirty="0"/>
              <a:t> </a:t>
            </a:r>
            <a:r>
              <a:rPr lang="en-US" sz="2800" dirty="0"/>
              <a:t>3</a:t>
            </a:r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A426EE20-4ABD-460B-BAEF-CF0BFB933581}"/>
              </a:ext>
            </a:extLst>
          </p:cNvPr>
          <p:cNvSpPr/>
          <p:nvPr/>
        </p:nvSpPr>
        <p:spPr>
          <a:xfrm>
            <a:off x="6341459" y="3880953"/>
            <a:ext cx="1452182" cy="1452182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PHASE</a:t>
            </a:r>
            <a:r>
              <a:rPr lang="en-US" dirty="0"/>
              <a:t> </a:t>
            </a:r>
            <a:r>
              <a:rPr lang="en-US" sz="2800" dirty="0"/>
              <a:t>4</a:t>
            </a:r>
          </a:p>
        </p:txBody>
      </p:sp>
      <p:sp>
        <p:nvSpPr>
          <p:cNvPr id="74" name="Oval 73">
            <a:extLst>
              <a:ext uri="{FF2B5EF4-FFF2-40B4-BE49-F238E27FC236}">
                <a16:creationId xmlns:a16="http://schemas.microsoft.com/office/drawing/2014/main" id="{1EA324C0-2E7E-4F32-9E6C-D55419D6FAC0}"/>
              </a:ext>
            </a:extLst>
          </p:cNvPr>
          <p:cNvSpPr/>
          <p:nvPr/>
        </p:nvSpPr>
        <p:spPr>
          <a:xfrm>
            <a:off x="8217884" y="2140934"/>
            <a:ext cx="1452182" cy="1452182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PHASE</a:t>
            </a:r>
            <a:r>
              <a:rPr lang="en-US" dirty="0"/>
              <a:t> </a:t>
            </a:r>
            <a:r>
              <a:rPr lang="en-US" sz="2800" dirty="0"/>
              <a:t>5</a:t>
            </a:r>
          </a:p>
        </p:txBody>
      </p:sp>
      <p:sp>
        <p:nvSpPr>
          <p:cNvPr id="75" name="Oval 74">
            <a:extLst>
              <a:ext uri="{FF2B5EF4-FFF2-40B4-BE49-F238E27FC236}">
                <a16:creationId xmlns:a16="http://schemas.microsoft.com/office/drawing/2014/main" id="{629CF29E-EA65-4D6E-8A9D-6290D67F46B4}"/>
              </a:ext>
            </a:extLst>
          </p:cNvPr>
          <p:cNvSpPr/>
          <p:nvPr/>
        </p:nvSpPr>
        <p:spPr>
          <a:xfrm>
            <a:off x="10094309" y="3880953"/>
            <a:ext cx="1452182" cy="1452182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PHASE</a:t>
            </a:r>
            <a:r>
              <a:rPr lang="en-US" dirty="0"/>
              <a:t> </a:t>
            </a:r>
            <a:r>
              <a:rPr lang="en-US" sz="2800" dirty="0"/>
              <a:t>6</a:t>
            </a:r>
            <a:endParaRPr lang="en-US" dirty="0"/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3C2AE1CA-6936-4ED5-92C6-C7F3085D8BF9}"/>
              </a:ext>
            </a:extLst>
          </p:cNvPr>
          <p:cNvCxnSpPr>
            <a:stCxn id="5" idx="5"/>
            <a:endCxn id="71" idx="1"/>
          </p:cNvCxnSpPr>
          <p:nvPr/>
        </p:nvCxnSpPr>
        <p:spPr>
          <a:xfrm>
            <a:off x="1951699" y="3380449"/>
            <a:ext cx="849577" cy="713171"/>
          </a:xfrm>
          <a:prstGeom prst="line">
            <a:avLst/>
          </a:prstGeom>
          <a:ln w="12700">
            <a:solidFill>
              <a:schemeClr val="accent3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C3558730-E908-4263-A5BA-817F1440E32B}"/>
              </a:ext>
            </a:extLst>
          </p:cNvPr>
          <p:cNvCxnSpPr>
            <a:cxnSpLocks/>
            <a:stCxn id="71" idx="7"/>
            <a:endCxn id="72" idx="3"/>
          </p:cNvCxnSpPr>
          <p:nvPr/>
        </p:nvCxnSpPr>
        <p:spPr>
          <a:xfrm flipV="1">
            <a:off x="3828124" y="3380449"/>
            <a:ext cx="849577" cy="713171"/>
          </a:xfrm>
          <a:prstGeom prst="line">
            <a:avLst/>
          </a:prstGeom>
          <a:ln w="12700">
            <a:solidFill>
              <a:schemeClr val="accent3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7404F883-AFA6-4358-AC10-BD5FD8CDA81A}"/>
              </a:ext>
            </a:extLst>
          </p:cNvPr>
          <p:cNvCxnSpPr>
            <a:cxnSpLocks/>
            <a:stCxn id="72" idx="5"/>
            <a:endCxn id="73" idx="1"/>
          </p:cNvCxnSpPr>
          <p:nvPr/>
        </p:nvCxnSpPr>
        <p:spPr>
          <a:xfrm>
            <a:off x="5704549" y="3380449"/>
            <a:ext cx="849577" cy="713171"/>
          </a:xfrm>
          <a:prstGeom prst="line">
            <a:avLst/>
          </a:prstGeom>
          <a:ln w="12700">
            <a:solidFill>
              <a:schemeClr val="accent3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912842AA-F664-4490-A5AA-A318BD26F2B8}"/>
              </a:ext>
            </a:extLst>
          </p:cNvPr>
          <p:cNvCxnSpPr>
            <a:cxnSpLocks/>
            <a:stCxn id="74" idx="5"/>
            <a:endCxn id="75" idx="1"/>
          </p:cNvCxnSpPr>
          <p:nvPr/>
        </p:nvCxnSpPr>
        <p:spPr>
          <a:xfrm>
            <a:off x="9457399" y="3380449"/>
            <a:ext cx="849577" cy="713171"/>
          </a:xfrm>
          <a:prstGeom prst="line">
            <a:avLst/>
          </a:prstGeom>
          <a:ln w="12700">
            <a:solidFill>
              <a:schemeClr val="accent3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138264BE-9B2E-4EA5-8AB7-FABEAE943792}"/>
              </a:ext>
            </a:extLst>
          </p:cNvPr>
          <p:cNvCxnSpPr>
            <a:cxnSpLocks/>
            <a:stCxn id="73" idx="7"/>
            <a:endCxn id="74" idx="3"/>
          </p:cNvCxnSpPr>
          <p:nvPr/>
        </p:nvCxnSpPr>
        <p:spPr>
          <a:xfrm flipV="1">
            <a:off x="7580974" y="3380449"/>
            <a:ext cx="849577" cy="713171"/>
          </a:xfrm>
          <a:prstGeom prst="line">
            <a:avLst/>
          </a:prstGeom>
          <a:ln w="12700">
            <a:solidFill>
              <a:schemeClr val="accent3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Oval 88">
            <a:extLst>
              <a:ext uri="{FF2B5EF4-FFF2-40B4-BE49-F238E27FC236}">
                <a16:creationId xmlns:a16="http://schemas.microsoft.com/office/drawing/2014/main" id="{051D8B2A-3A46-484A-B118-5DA764447264}"/>
              </a:ext>
            </a:extLst>
          </p:cNvPr>
          <p:cNvSpPr/>
          <p:nvPr/>
        </p:nvSpPr>
        <p:spPr>
          <a:xfrm>
            <a:off x="778193" y="2206943"/>
            <a:ext cx="1320165" cy="1320165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0" name="Oval 89">
            <a:extLst>
              <a:ext uri="{FF2B5EF4-FFF2-40B4-BE49-F238E27FC236}">
                <a16:creationId xmlns:a16="http://schemas.microsoft.com/office/drawing/2014/main" id="{D728EF52-3FA6-4D91-8D9E-84B92E4F13E4}"/>
              </a:ext>
            </a:extLst>
          </p:cNvPr>
          <p:cNvSpPr/>
          <p:nvPr/>
        </p:nvSpPr>
        <p:spPr>
          <a:xfrm>
            <a:off x="2654618" y="3946962"/>
            <a:ext cx="1320165" cy="1320165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1" name="Oval 90">
            <a:extLst>
              <a:ext uri="{FF2B5EF4-FFF2-40B4-BE49-F238E27FC236}">
                <a16:creationId xmlns:a16="http://schemas.microsoft.com/office/drawing/2014/main" id="{C04CC046-AB07-4063-B863-5329301B8157}"/>
              </a:ext>
            </a:extLst>
          </p:cNvPr>
          <p:cNvSpPr/>
          <p:nvPr/>
        </p:nvSpPr>
        <p:spPr>
          <a:xfrm>
            <a:off x="4531043" y="2206943"/>
            <a:ext cx="1320165" cy="1320165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2" name="Oval 91">
            <a:extLst>
              <a:ext uri="{FF2B5EF4-FFF2-40B4-BE49-F238E27FC236}">
                <a16:creationId xmlns:a16="http://schemas.microsoft.com/office/drawing/2014/main" id="{3A1B962E-D25D-4101-B55F-33D95DFDF522}"/>
              </a:ext>
            </a:extLst>
          </p:cNvPr>
          <p:cNvSpPr/>
          <p:nvPr/>
        </p:nvSpPr>
        <p:spPr>
          <a:xfrm>
            <a:off x="6407468" y="3946962"/>
            <a:ext cx="1320165" cy="1320165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3" name="Oval 92">
            <a:extLst>
              <a:ext uri="{FF2B5EF4-FFF2-40B4-BE49-F238E27FC236}">
                <a16:creationId xmlns:a16="http://schemas.microsoft.com/office/drawing/2014/main" id="{FC547A54-5B37-4125-899D-B2FF4ED13BAA}"/>
              </a:ext>
            </a:extLst>
          </p:cNvPr>
          <p:cNvSpPr/>
          <p:nvPr/>
        </p:nvSpPr>
        <p:spPr>
          <a:xfrm>
            <a:off x="8283893" y="2206943"/>
            <a:ext cx="1320165" cy="1320165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4" name="Oval 93">
            <a:extLst>
              <a:ext uri="{FF2B5EF4-FFF2-40B4-BE49-F238E27FC236}">
                <a16:creationId xmlns:a16="http://schemas.microsoft.com/office/drawing/2014/main" id="{2B4FC8FA-7DE8-4612-BFBC-AEA287E7E5B1}"/>
              </a:ext>
            </a:extLst>
          </p:cNvPr>
          <p:cNvSpPr/>
          <p:nvPr/>
        </p:nvSpPr>
        <p:spPr>
          <a:xfrm>
            <a:off x="10160318" y="3946962"/>
            <a:ext cx="1320165" cy="1320165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63F08D6A-A683-4F4D-84DC-57845CA547CD}"/>
              </a:ext>
            </a:extLst>
          </p:cNvPr>
          <p:cNvSpPr txBox="1"/>
          <p:nvPr/>
        </p:nvSpPr>
        <p:spPr>
          <a:xfrm>
            <a:off x="429744" y="1365067"/>
            <a:ext cx="2017061" cy="64633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. 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8894193A-6B1D-40C9-AAA2-A82F05B85BF8}"/>
              </a:ext>
            </a:extLst>
          </p:cNvPr>
          <p:cNvSpPr txBox="1"/>
          <p:nvPr/>
        </p:nvSpPr>
        <p:spPr>
          <a:xfrm>
            <a:off x="4182594" y="1365067"/>
            <a:ext cx="2017061" cy="64633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. </a:t>
            </a: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86D3A1F7-F856-48B3-BE6A-FCD842E8E112}"/>
              </a:ext>
            </a:extLst>
          </p:cNvPr>
          <p:cNvSpPr txBox="1"/>
          <p:nvPr/>
        </p:nvSpPr>
        <p:spPr>
          <a:xfrm>
            <a:off x="7935444" y="1365067"/>
            <a:ext cx="2017061" cy="64633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. 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F1445ED5-FA48-4153-B6FF-16BE573F1C65}"/>
              </a:ext>
            </a:extLst>
          </p:cNvPr>
          <p:cNvSpPr txBox="1"/>
          <p:nvPr/>
        </p:nvSpPr>
        <p:spPr>
          <a:xfrm>
            <a:off x="2306169" y="5462671"/>
            <a:ext cx="2017061" cy="64633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. 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F8D280D3-3530-4901-AA98-F26E4F7D04E5}"/>
              </a:ext>
            </a:extLst>
          </p:cNvPr>
          <p:cNvSpPr txBox="1"/>
          <p:nvPr/>
        </p:nvSpPr>
        <p:spPr>
          <a:xfrm>
            <a:off x="6059019" y="5462671"/>
            <a:ext cx="2017061" cy="64633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. 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7F6E9E16-F6A6-4014-BA43-805A497DB6BF}"/>
              </a:ext>
            </a:extLst>
          </p:cNvPr>
          <p:cNvSpPr txBox="1"/>
          <p:nvPr/>
        </p:nvSpPr>
        <p:spPr>
          <a:xfrm>
            <a:off x="9811869" y="5462671"/>
            <a:ext cx="2017061" cy="64633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74115193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9DFF9D8D-381E-4AB5-A05F-86D86CF2A953}"/>
              </a:ext>
            </a:extLst>
          </p:cNvPr>
          <p:cNvSpPr/>
          <p:nvPr/>
        </p:nvSpPr>
        <p:spPr>
          <a:xfrm>
            <a:off x="-145143" y="632389"/>
            <a:ext cx="12482286" cy="6089086"/>
          </a:xfrm>
          <a:custGeom>
            <a:avLst/>
            <a:gdLst>
              <a:gd name="connsiteX0" fmla="*/ 0 w 11582400"/>
              <a:gd name="connsiteY0" fmla="*/ 0 h 6073775"/>
              <a:gd name="connsiteX1" fmla="*/ 11582400 w 11582400"/>
              <a:gd name="connsiteY1" fmla="*/ 0 h 6073775"/>
              <a:gd name="connsiteX2" fmla="*/ 11582400 w 11582400"/>
              <a:gd name="connsiteY2" fmla="*/ 6073775 h 6073775"/>
              <a:gd name="connsiteX3" fmla="*/ 0 w 11582400"/>
              <a:gd name="connsiteY3" fmla="*/ 6073775 h 6073775"/>
              <a:gd name="connsiteX4" fmla="*/ 0 w 11582400"/>
              <a:gd name="connsiteY4" fmla="*/ 0 h 6073775"/>
              <a:gd name="connsiteX0" fmla="*/ 0 w 11582400"/>
              <a:gd name="connsiteY0" fmla="*/ 6765 h 6080540"/>
              <a:gd name="connsiteX1" fmla="*/ 8309361 w 11582400"/>
              <a:gd name="connsiteY1" fmla="*/ 0 h 6080540"/>
              <a:gd name="connsiteX2" fmla="*/ 11582400 w 11582400"/>
              <a:gd name="connsiteY2" fmla="*/ 6765 h 6080540"/>
              <a:gd name="connsiteX3" fmla="*/ 11582400 w 11582400"/>
              <a:gd name="connsiteY3" fmla="*/ 6080540 h 6080540"/>
              <a:gd name="connsiteX4" fmla="*/ 0 w 11582400"/>
              <a:gd name="connsiteY4" fmla="*/ 6080540 h 6080540"/>
              <a:gd name="connsiteX5" fmla="*/ 0 w 11582400"/>
              <a:gd name="connsiteY5" fmla="*/ 6765 h 6080540"/>
              <a:gd name="connsiteX0" fmla="*/ 0 w 11582400"/>
              <a:gd name="connsiteY0" fmla="*/ 15311 h 6089086"/>
              <a:gd name="connsiteX1" fmla="*/ 3267342 w 11582400"/>
              <a:gd name="connsiteY1" fmla="*/ 0 h 6089086"/>
              <a:gd name="connsiteX2" fmla="*/ 8309361 w 11582400"/>
              <a:gd name="connsiteY2" fmla="*/ 8546 h 6089086"/>
              <a:gd name="connsiteX3" fmla="*/ 11582400 w 11582400"/>
              <a:gd name="connsiteY3" fmla="*/ 15311 h 6089086"/>
              <a:gd name="connsiteX4" fmla="*/ 11582400 w 11582400"/>
              <a:gd name="connsiteY4" fmla="*/ 6089086 h 6089086"/>
              <a:gd name="connsiteX5" fmla="*/ 0 w 11582400"/>
              <a:gd name="connsiteY5" fmla="*/ 6089086 h 6089086"/>
              <a:gd name="connsiteX6" fmla="*/ 0 w 11582400"/>
              <a:gd name="connsiteY6" fmla="*/ 15311 h 6089086"/>
              <a:gd name="connsiteX0" fmla="*/ 0 w 11582400"/>
              <a:gd name="connsiteY0" fmla="*/ 23857 h 6097632"/>
              <a:gd name="connsiteX1" fmla="*/ 3267342 w 11582400"/>
              <a:gd name="connsiteY1" fmla="*/ 8546 h 6097632"/>
              <a:gd name="connsiteX2" fmla="*/ 5386699 w 11582400"/>
              <a:gd name="connsiteY2" fmla="*/ 0 h 6097632"/>
              <a:gd name="connsiteX3" fmla="*/ 8309361 w 11582400"/>
              <a:gd name="connsiteY3" fmla="*/ 17092 h 6097632"/>
              <a:gd name="connsiteX4" fmla="*/ 11582400 w 11582400"/>
              <a:gd name="connsiteY4" fmla="*/ 23857 h 6097632"/>
              <a:gd name="connsiteX5" fmla="*/ 11582400 w 11582400"/>
              <a:gd name="connsiteY5" fmla="*/ 6097632 h 6097632"/>
              <a:gd name="connsiteX6" fmla="*/ 0 w 11582400"/>
              <a:gd name="connsiteY6" fmla="*/ 6097632 h 6097632"/>
              <a:gd name="connsiteX7" fmla="*/ 0 w 11582400"/>
              <a:gd name="connsiteY7" fmla="*/ 23857 h 6097632"/>
              <a:gd name="connsiteX0" fmla="*/ 5386699 w 11582400"/>
              <a:gd name="connsiteY0" fmla="*/ 0 h 6097632"/>
              <a:gd name="connsiteX1" fmla="*/ 8309361 w 11582400"/>
              <a:gd name="connsiteY1" fmla="*/ 17092 h 6097632"/>
              <a:gd name="connsiteX2" fmla="*/ 11582400 w 11582400"/>
              <a:gd name="connsiteY2" fmla="*/ 23857 h 6097632"/>
              <a:gd name="connsiteX3" fmla="*/ 11582400 w 11582400"/>
              <a:gd name="connsiteY3" fmla="*/ 6097632 h 6097632"/>
              <a:gd name="connsiteX4" fmla="*/ 0 w 11582400"/>
              <a:gd name="connsiteY4" fmla="*/ 6097632 h 6097632"/>
              <a:gd name="connsiteX5" fmla="*/ 0 w 11582400"/>
              <a:gd name="connsiteY5" fmla="*/ 23857 h 6097632"/>
              <a:gd name="connsiteX6" fmla="*/ 3267342 w 11582400"/>
              <a:gd name="connsiteY6" fmla="*/ 8546 h 6097632"/>
              <a:gd name="connsiteX7" fmla="*/ 5478139 w 11582400"/>
              <a:gd name="connsiteY7" fmla="*/ 91440 h 6097632"/>
              <a:gd name="connsiteX0" fmla="*/ 8309361 w 11582400"/>
              <a:gd name="connsiteY0" fmla="*/ 8616 h 6089156"/>
              <a:gd name="connsiteX1" fmla="*/ 11582400 w 11582400"/>
              <a:gd name="connsiteY1" fmla="*/ 15381 h 6089156"/>
              <a:gd name="connsiteX2" fmla="*/ 11582400 w 11582400"/>
              <a:gd name="connsiteY2" fmla="*/ 6089156 h 6089156"/>
              <a:gd name="connsiteX3" fmla="*/ 0 w 11582400"/>
              <a:gd name="connsiteY3" fmla="*/ 6089156 h 6089156"/>
              <a:gd name="connsiteX4" fmla="*/ 0 w 11582400"/>
              <a:gd name="connsiteY4" fmla="*/ 15381 h 6089156"/>
              <a:gd name="connsiteX5" fmla="*/ 3267342 w 11582400"/>
              <a:gd name="connsiteY5" fmla="*/ 70 h 6089156"/>
              <a:gd name="connsiteX6" fmla="*/ 5478139 w 11582400"/>
              <a:gd name="connsiteY6" fmla="*/ 82964 h 6089156"/>
              <a:gd name="connsiteX0" fmla="*/ 8309361 w 11582400"/>
              <a:gd name="connsiteY0" fmla="*/ 8546 h 6089086"/>
              <a:gd name="connsiteX1" fmla="*/ 11582400 w 11582400"/>
              <a:gd name="connsiteY1" fmla="*/ 15311 h 6089086"/>
              <a:gd name="connsiteX2" fmla="*/ 11582400 w 11582400"/>
              <a:gd name="connsiteY2" fmla="*/ 6089086 h 6089086"/>
              <a:gd name="connsiteX3" fmla="*/ 0 w 11582400"/>
              <a:gd name="connsiteY3" fmla="*/ 6089086 h 6089086"/>
              <a:gd name="connsiteX4" fmla="*/ 0 w 11582400"/>
              <a:gd name="connsiteY4" fmla="*/ 15311 h 6089086"/>
              <a:gd name="connsiteX5" fmla="*/ 3267342 w 11582400"/>
              <a:gd name="connsiteY5" fmla="*/ 0 h 6089086"/>
              <a:gd name="connsiteX0" fmla="*/ 8309361 w 11582400"/>
              <a:gd name="connsiteY0" fmla="*/ 8546 h 6089086"/>
              <a:gd name="connsiteX1" fmla="*/ 11582400 w 11582400"/>
              <a:gd name="connsiteY1" fmla="*/ 15311 h 6089086"/>
              <a:gd name="connsiteX2" fmla="*/ 11582400 w 11582400"/>
              <a:gd name="connsiteY2" fmla="*/ 2923611 h 6089086"/>
              <a:gd name="connsiteX3" fmla="*/ 11582400 w 11582400"/>
              <a:gd name="connsiteY3" fmla="*/ 6089086 h 6089086"/>
              <a:gd name="connsiteX4" fmla="*/ 0 w 11582400"/>
              <a:gd name="connsiteY4" fmla="*/ 6089086 h 6089086"/>
              <a:gd name="connsiteX5" fmla="*/ 0 w 11582400"/>
              <a:gd name="connsiteY5" fmla="*/ 15311 h 6089086"/>
              <a:gd name="connsiteX6" fmla="*/ 3267342 w 11582400"/>
              <a:gd name="connsiteY6" fmla="*/ 0 h 6089086"/>
              <a:gd name="connsiteX0" fmla="*/ 8309361 w 11582400"/>
              <a:gd name="connsiteY0" fmla="*/ 8546 h 6089086"/>
              <a:gd name="connsiteX1" fmla="*/ 11582400 w 11582400"/>
              <a:gd name="connsiteY1" fmla="*/ 15311 h 6089086"/>
              <a:gd name="connsiteX2" fmla="*/ 11582400 w 11582400"/>
              <a:gd name="connsiteY2" fmla="*/ 6089086 h 6089086"/>
              <a:gd name="connsiteX3" fmla="*/ 0 w 11582400"/>
              <a:gd name="connsiteY3" fmla="*/ 6089086 h 6089086"/>
              <a:gd name="connsiteX4" fmla="*/ 0 w 11582400"/>
              <a:gd name="connsiteY4" fmla="*/ 15311 h 6089086"/>
              <a:gd name="connsiteX5" fmla="*/ 3267342 w 11582400"/>
              <a:gd name="connsiteY5" fmla="*/ 0 h 60890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582400" h="6089086">
                <a:moveTo>
                  <a:pt x="8309361" y="8546"/>
                </a:moveTo>
                <a:lnTo>
                  <a:pt x="11582400" y="15311"/>
                </a:lnTo>
                <a:lnTo>
                  <a:pt x="11582400" y="6089086"/>
                </a:lnTo>
                <a:lnTo>
                  <a:pt x="0" y="6089086"/>
                </a:lnTo>
                <a:lnTo>
                  <a:pt x="0" y="15311"/>
                </a:lnTo>
                <a:lnTo>
                  <a:pt x="3267342" y="0"/>
                </a:lnTo>
              </a:path>
            </a:pathLst>
          </a:custGeom>
          <a:noFill/>
          <a:ln w="6350">
            <a:solidFill>
              <a:schemeClr val="accent2"/>
            </a:solidFill>
            <a:headEnd type="oval"/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094B0E2-52F1-47A9-B0CD-64F57F5DE476}"/>
              </a:ext>
            </a:extLst>
          </p:cNvPr>
          <p:cNvSpPr txBox="1"/>
          <p:nvPr/>
        </p:nvSpPr>
        <p:spPr>
          <a:xfrm>
            <a:off x="190500" y="241300"/>
            <a:ext cx="11811000" cy="8002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3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rPr>
              <a:t>Project Management</a:t>
            </a:r>
          </a:p>
          <a:p>
            <a:pPr algn="ctr"/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rPr>
              <a:t>Template Pack</a:t>
            </a:r>
            <a:endParaRPr lang="id-ID" sz="20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ABA8D8A-3C74-47D4-9A47-6C113AB1DC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65069E-FEA1-427A-A048-CF60E8D1D63F}" type="datetime1">
              <a:rPr lang="en-US" sz="1000" smtClean="0"/>
              <a:t>5/8/2019</a:t>
            </a:fld>
            <a:endParaRPr lang="en-US" sz="10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28A193C-DE62-45B9-BC6C-339547738B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EFC3F0-C584-483B-B1FE-52BE924CB19D}" type="slidenum">
              <a:rPr lang="en-US" sz="1000" smtClean="0"/>
              <a:t>7</a:t>
            </a:fld>
            <a:endParaRPr lang="en-US" sz="1000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FB605CE7-BCB7-44E0-BCA3-0551C3AD1459}"/>
              </a:ext>
            </a:extLst>
          </p:cNvPr>
          <p:cNvGrpSpPr/>
          <p:nvPr/>
        </p:nvGrpSpPr>
        <p:grpSpPr>
          <a:xfrm>
            <a:off x="6142693" y="1485787"/>
            <a:ext cx="5551827" cy="4508613"/>
            <a:chOff x="6254642" y="1485787"/>
            <a:chExt cx="5551827" cy="4508613"/>
          </a:xfrm>
        </p:grpSpPr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DAD84E29-2A80-4127-AE5A-B0798BC08A59}"/>
                </a:ext>
              </a:extLst>
            </p:cNvPr>
            <p:cNvCxnSpPr>
              <a:cxnSpLocks/>
            </p:cNvCxnSpPr>
            <p:nvPr/>
          </p:nvCxnSpPr>
          <p:spPr>
            <a:xfrm>
              <a:off x="9030556" y="1485787"/>
              <a:ext cx="0" cy="4508613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4B48885-AED1-46C3-852B-CABFD53118A2}"/>
                </a:ext>
              </a:extLst>
            </p:cNvPr>
            <p:cNvGrpSpPr/>
            <p:nvPr/>
          </p:nvGrpSpPr>
          <p:grpSpPr>
            <a:xfrm>
              <a:off x="6254642" y="1625877"/>
              <a:ext cx="2486015" cy="4228433"/>
              <a:chOff x="6246985" y="1752385"/>
              <a:chExt cx="2486015" cy="4228433"/>
            </a:xfrm>
          </p:grpSpPr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A93DF55C-04B5-4501-88E2-0B0DD2CCBC22}"/>
                  </a:ext>
                </a:extLst>
              </p:cNvPr>
              <p:cNvSpPr txBox="1"/>
              <p:nvPr/>
            </p:nvSpPr>
            <p:spPr>
              <a:xfrm>
                <a:off x="6358419" y="1752385"/>
                <a:ext cx="2263146" cy="830997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pPr algn="ctr"/>
                <a:r>
                  <a:rPr lang="en-US" sz="5400" b="1" dirty="0">
                    <a:solidFill>
                      <a:schemeClr val="accent2"/>
                    </a:solidFill>
                  </a:rPr>
                  <a:t>52%</a:t>
                </a:r>
              </a:p>
            </p:txBody>
          </p:sp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CDA8A3C3-7960-46EF-85A6-E70EF3A0E24E}"/>
                  </a:ext>
                </a:extLst>
              </p:cNvPr>
              <p:cNvSpPr txBox="1"/>
              <p:nvPr/>
            </p:nvSpPr>
            <p:spPr>
              <a:xfrm>
                <a:off x="6246985" y="2749164"/>
                <a:ext cx="2486015" cy="323165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sz="1400" dirty="0"/>
                  <a:t>Lorem ipsum dolor sit </a:t>
                </a:r>
                <a:r>
                  <a:rPr lang="en-US" sz="1400" dirty="0" err="1"/>
                  <a:t>amet</a:t>
                </a:r>
                <a:r>
                  <a:rPr lang="en-US" sz="1400" dirty="0"/>
                  <a:t>, </a:t>
                </a:r>
                <a:r>
                  <a:rPr lang="en-US" sz="1400" dirty="0" err="1"/>
                  <a:t>consectetur</a:t>
                </a:r>
                <a:r>
                  <a:rPr lang="en-US" sz="1400" dirty="0"/>
                  <a:t> </a:t>
                </a:r>
                <a:r>
                  <a:rPr lang="en-US" sz="1400" dirty="0" err="1"/>
                  <a:t>adipiscing</a:t>
                </a:r>
                <a:r>
                  <a:rPr lang="en-US" sz="1400" dirty="0"/>
                  <a:t> </a:t>
                </a:r>
                <a:r>
                  <a:rPr lang="en-US" sz="1400" dirty="0" err="1"/>
                  <a:t>elit</a:t>
                </a:r>
                <a:r>
                  <a:rPr lang="en-US" sz="1400" dirty="0"/>
                  <a:t>. </a:t>
                </a:r>
                <a:r>
                  <a:rPr lang="en-US" sz="1400" dirty="0" err="1"/>
                  <a:t>Vivamus</a:t>
                </a:r>
                <a:r>
                  <a:rPr lang="en-US" sz="1400" dirty="0"/>
                  <a:t> </a:t>
                </a:r>
                <a:r>
                  <a:rPr lang="en-US" sz="1400" dirty="0" err="1"/>
                  <a:t>consectetur</a:t>
                </a:r>
                <a:r>
                  <a:rPr lang="en-US" sz="1400" dirty="0"/>
                  <a:t> </a:t>
                </a:r>
                <a:r>
                  <a:rPr lang="en-US" sz="1400" dirty="0" err="1"/>
                  <a:t>velit</a:t>
                </a:r>
                <a:r>
                  <a:rPr lang="en-US" sz="1400" dirty="0"/>
                  <a:t> at </a:t>
                </a:r>
                <a:r>
                  <a:rPr lang="en-US" sz="1400" dirty="0" err="1"/>
                  <a:t>urna</a:t>
                </a:r>
                <a:r>
                  <a:rPr lang="en-US" sz="1400" dirty="0"/>
                  <a:t> convallis, </a:t>
                </a:r>
                <a:r>
                  <a:rPr lang="en-US" sz="1400" dirty="0" err="1"/>
                  <a:t>eu</a:t>
                </a:r>
                <a:r>
                  <a:rPr lang="en-US" sz="1400" dirty="0"/>
                  <a:t> </a:t>
                </a:r>
                <a:r>
                  <a:rPr lang="en-US" sz="1400" dirty="0" err="1"/>
                  <a:t>imperdiet</a:t>
                </a:r>
                <a:r>
                  <a:rPr lang="en-US" sz="1400" dirty="0"/>
                  <a:t> </a:t>
                </a:r>
                <a:r>
                  <a:rPr lang="en-US" sz="1400" dirty="0" err="1"/>
                  <a:t>est</a:t>
                </a:r>
                <a:r>
                  <a:rPr lang="en-US" sz="1400" dirty="0"/>
                  <a:t> pharetra. </a:t>
                </a:r>
                <a:r>
                  <a:rPr lang="en-US" sz="1400" dirty="0" err="1"/>
                  <a:t>Nullam</a:t>
                </a:r>
                <a:r>
                  <a:rPr lang="en-US" sz="1400" dirty="0"/>
                  <a:t> sed </a:t>
                </a:r>
                <a:r>
                  <a:rPr lang="en-US" sz="1400" dirty="0" err="1"/>
                  <a:t>sapien</a:t>
                </a:r>
                <a:r>
                  <a:rPr lang="en-US" sz="1400" dirty="0"/>
                  <a:t> magna. </a:t>
                </a:r>
                <a:r>
                  <a:rPr lang="en-US" sz="1400" dirty="0" err="1"/>
                  <a:t>Fusce</a:t>
                </a:r>
                <a:r>
                  <a:rPr lang="en-US" sz="1400" dirty="0"/>
                  <a:t> </a:t>
                </a:r>
                <a:r>
                  <a:rPr lang="en-US" sz="1400" dirty="0" err="1"/>
                  <a:t>efficitur</a:t>
                </a:r>
                <a:r>
                  <a:rPr lang="en-US" sz="1400" dirty="0"/>
                  <a:t> </a:t>
                </a:r>
                <a:r>
                  <a:rPr lang="en-US" sz="1400" dirty="0" err="1"/>
                  <a:t>eros</a:t>
                </a:r>
                <a:r>
                  <a:rPr lang="en-US" sz="1400" dirty="0"/>
                  <a:t> </a:t>
                </a:r>
                <a:r>
                  <a:rPr lang="en-US" sz="1400" dirty="0" err="1"/>
                  <a:t>metus</a:t>
                </a:r>
                <a:r>
                  <a:rPr lang="en-US" sz="1400" dirty="0"/>
                  <a:t>, </a:t>
                </a:r>
                <a:r>
                  <a:rPr lang="en-US" sz="1400" dirty="0" err="1"/>
                  <a:t>ut</a:t>
                </a:r>
                <a:r>
                  <a:rPr lang="en-US" sz="1400" dirty="0"/>
                  <a:t> maximus </a:t>
                </a:r>
                <a:r>
                  <a:rPr lang="en-US" sz="1400" dirty="0" err="1"/>
                  <a:t>orci</a:t>
                </a:r>
                <a:r>
                  <a:rPr lang="en-US" sz="1400" dirty="0"/>
                  <a:t> </a:t>
                </a:r>
                <a:r>
                  <a:rPr lang="en-US" sz="1400" dirty="0" err="1"/>
                  <a:t>tincidunt</a:t>
                </a:r>
                <a:r>
                  <a:rPr lang="en-US" sz="1400" dirty="0"/>
                  <a:t> </a:t>
                </a:r>
                <a:r>
                  <a:rPr lang="en-US" sz="1400" dirty="0" err="1"/>
                  <a:t>eget</a:t>
                </a:r>
                <a:r>
                  <a:rPr lang="en-US" sz="1400" dirty="0"/>
                  <a:t>. Sed sit </a:t>
                </a:r>
                <a:r>
                  <a:rPr lang="en-US" sz="1400" dirty="0" err="1"/>
                  <a:t>amet</a:t>
                </a:r>
                <a:r>
                  <a:rPr lang="en-US" sz="1400" dirty="0"/>
                  <a:t> </a:t>
                </a:r>
                <a:r>
                  <a:rPr lang="en-US" sz="1400" dirty="0" err="1"/>
                  <a:t>purus</a:t>
                </a:r>
                <a:r>
                  <a:rPr lang="en-US" sz="1400" dirty="0"/>
                  <a:t> </a:t>
                </a:r>
                <a:r>
                  <a:rPr lang="en-US" sz="1400" dirty="0" err="1"/>
                  <a:t>eget</a:t>
                </a:r>
                <a:r>
                  <a:rPr lang="en-US" sz="1400" dirty="0"/>
                  <a:t> </a:t>
                </a:r>
                <a:r>
                  <a:rPr lang="en-US" sz="1400" dirty="0" err="1"/>
                  <a:t>nibh</a:t>
                </a:r>
                <a:r>
                  <a:rPr lang="en-US" sz="1400" dirty="0"/>
                  <a:t> </a:t>
                </a:r>
                <a:r>
                  <a:rPr lang="en-US" sz="1400" dirty="0" err="1"/>
                  <a:t>egestas</a:t>
                </a:r>
                <a:r>
                  <a:rPr lang="en-US" sz="1400" dirty="0"/>
                  <a:t> </a:t>
                </a:r>
                <a:r>
                  <a:rPr lang="en-US" sz="1400" dirty="0" err="1"/>
                  <a:t>eleifend</a:t>
                </a:r>
                <a:r>
                  <a:rPr lang="en-US" sz="1400" dirty="0"/>
                  <a:t> </a:t>
                </a:r>
                <a:r>
                  <a:rPr lang="en-US" sz="1400" dirty="0" err="1"/>
                  <a:t>quis</a:t>
                </a:r>
                <a:r>
                  <a:rPr lang="en-US" sz="1400" dirty="0"/>
                  <a:t> sed lorem. </a:t>
                </a:r>
                <a:r>
                  <a:rPr lang="en-US" sz="1400" dirty="0" err="1"/>
                  <a:t>Nullam</a:t>
                </a:r>
                <a:r>
                  <a:rPr lang="en-US" sz="1400" dirty="0"/>
                  <a:t> </a:t>
                </a:r>
                <a:r>
                  <a:rPr lang="en-US" sz="1400" dirty="0" err="1"/>
                  <a:t>leo</a:t>
                </a:r>
                <a:r>
                  <a:rPr lang="en-US" sz="1400" dirty="0"/>
                  <a:t> </a:t>
                </a:r>
                <a:r>
                  <a:rPr lang="en-US" sz="1400" dirty="0" err="1"/>
                  <a:t>eros</a:t>
                </a:r>
                <a:r>
                  <a:rPr lang="en-US" sz="1400" dirty="0"/>
                  <a:t>, porta vitae libero </a:t>
                </a:r>
                <a:r>
                  <a:rPr lang="en-US" sz="1400" dirty="0" err="1"/>
                  <a:t>elementum</a:t>
                </a:r>
                <a:r>
                  <a:rPr lang="en-US" sz="1400" dirty="0"/>
                  <a:t>, </a:t>
                </a:r>
                <a:r>
                  <a:rPr lang="en-US" sz="1400" dirty="0" err="1"/>
                  <a:t>pellentesque</a:t>
                </a:r>
                <a:r>
                  <a:rPr lang="en-US" sz="1400" dirty="0"/>
                  <a:t> vestibulum ex. </a:t>
                </a:r>
              </a:p>
            </p:txBody>
          </p: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CC137399-D515-4682-981A-40049E3E9136}"/>
                </a:ext>
              </a:extLst>
            </p:cNvPr>
            <p:cNvGrpSpPr/>
            <p:nvPr/>
          </p:nvGrpSpPr>
          <p:grpSpPr>
            <a:xfrm>
              <a:off x="9320454" y="1625877"/>
              <a:ext cx="2486015" cy="4228433"/>
              <a:chOff x="9312797" y="1752385"/>
              <a:chExt cx="2486015" cy="4228433"/>
            </a:xfrm>
          </p:grpSpPr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0BD07D82-9E78-4149-97B7-282838D506C3}"/>
                  </a:ext>
                </a:extLst>
              </p:cNvPr>
              <p:cNvSpPr txBox="1"/>
              <p:nvPr/>
            </p:nvSpPr>
            <p:spPr>
              <a:xfrm>
                <a:off x="9424231" y="1752385"/>
                <a:ext cx="2263146" cy="830997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pPr algn="ctr"/>
                <a:r>
                  <a:rPr lang="en-US" sz="5400" b="1" dirty="0">
                    <a:solidFill>
                      <a:schemeClr val="accent2"/>
                    </a:solidFill>
                  </a:rPr>
                  <a:t>48%</a:t>
                </a:r>
              </a:p>
            </p:txBody>
          </p:sp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B446F065-30EB-404B-82AB-93429912CC18}"/>
                  </a:ext>
                </a:extLst>
              </p:cNvPr>
              <p:cNvSpPr txBox="1"/>
              <p:nvPr/>
            </p:nvSpPr>
            <p:spPr>
              <a:xfrm>
                <a:off x="9312797" y="2749164"/>
                <a:ext cx="2486015" cy="323165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sz="1400" dirty="0"/>
                  <a:t>Lorem ipsum dolor sit </a:t>
                </a:r>
                <a:r>
                  <a:rPr lang="en-US" sz="1400" dirty="0" err="1"/>
                  <a:t>amet</a:t>
                </a:r>
                <a:r>
                  <a:rPr lang="en-US" sz="1400" dirty="0"/>
                  <a:t>, </a:t>
                </a:r>
                <a:r>
                  <a:rPr lang="en-US" sz="1400" dirty="0" err="1"/>
                  <a:t>consectetur</a:t>
                </a:r>
                <a:r>
                  <a:rPr lang="en-US" sz="1400" dirty="0"/>
                  <a:t> </a:t>
                </a:r>
                <a:r>
                  <a:rPr lang="en-US" sz="1400" dirty="0" err="1"/>
                  <a:t>adipiscing</a:t>
                </a:r>
                <a:r>
                  <a:rPr lang="en-US" sz="1400" dirty="0"/>
                  <a:t> </a:t>
                </a:r>
                <a:r>
                  <a:rPr lang="en-US" sz="1400" dirty="0" err="1"/>
                  <a:t>elit</a:t>
                </a:r>
                <a:r>
                  <a:rPr lang="en-US" sz="1400" dirty="0"/>
                  <a:t>. </a:t>
                </a:r>
                <a:r>
                  <a:rPr lang="en-US" sz="1400" dirty="0" err="1"/>
                  <a:t>Vivamus</a:t>
                </a:r>
                <a:r>
                  <a:rPr lang="en-US" sz="1400" dirty="0"/>
                  <a:t> </a:t>
                </a:r>
                <a:r>
                  <a:rPr lang="en-US" sz="1400" dirty="0" err="1"/>
                  <a:t>consectetur</a:t>
                </a:r>
                <a:r>
                  <a:rPr lang="en-US" sz="1400" dirty="0"/>
                  <a:t> </a:t>
                </a:r>
                <a:r>
                  <a:rPr lang="en-US" sz="1400" dirty="0" err="1"/>
                  <a:t>velit</a:t>
                </a:r>
                <a:r>
                  <a:rPr lang="en-US" sz="1400" dirty="0"/>
                  <a:t> at </a:t>
                </a:r>
                <a:r>
                  <a:rPr lang="en-US" sz="1400" dirty="0" err="1"/>
                  <a:t>urna</a:t>
                </a:r>
                <a:r>
                  <a:rPr lang="en-US" sz="1400" dirty="0"/>
                  <a:t> convallis, </a:t>
                </a:r>
                <a:r>
                  <a:rPr lang="en-US" sz="1400" dirty="0" err="1"/>
                  <a:t>eu</a:t>
                </a:r>
                <a:r>
                  <a:rPr lang="en-US" sz="1400" dirty="0"/>
                  <a:t> </a:t>
                </a:r>
                <a:r>
                  <a:rPr lang="en-US" sz="1400" dirty="0" err="1"/>
                  <a:t>imperdiet</a:t>
                </a:r>
                <a:r>
                  <a:rPr lang="en-US" sz="1400" dirty="0"/>
                  <a:t> </a:t>
                </a:r>
                <a:r>
                  <a:rPr lang="en-US" sz="1400" dirty="0" err="1"/>
                  <a:t>est</a:t>
                </a:r>
                <a:r>
                  <a:rPr lang="en-US" sz="1400" dirty="0"/>
                  <a:t> pharetra. </a:t>
                </a:r>
                <a:r>
                  <a:rPr lang="en-US" sz="1400" dirty="0" err="1"/>
                  <a:t>Nullam</a:t>
                </a:r>
                <a:r>
                  <a:rPr lang="en-US" sz="1400" dirty="0"/>
                  <a:t> sed </a:t>
                </a:r>
                <a:r>
                  <a:rPr lang="en-US" sz="1400" dirty="0" err="1"/>
                  <a:t>sapien</a:t>
                </a:r>
                <a:r>
                  <a:rPr lang="en-US" sz="1400" dirty="0"/>
                  <a:t> magna. </a:t>
                </a:r>
                <a:r>
                  <a:rPr lang="en-US" sz="1400" dirty="0" err="1"/>
                  <a:t>Fusce</a:t>
                </a:r>
                <a:r>
                  <a:rPr lang="en-US" sz="1400" dirty="0"/>
                  <a:t> </a:t>
                </a:r>
                <a:r>
                  <a:rPr lang="en-US" sz="1400" dirty="0" err="1"/>
                  <a:t>efficitur</a:t>
                </a:r>
                <a:r>
                  <a:rPr lang="en-US" sz="1400" dirty="0"/>
                  <a:t> </a:t>
                </a:r>
                <a:r>
                  <a:rPr lang="en-US" sz="1400" dirty="0" err="1"/>
                  <a:t>eros</a:t>
                </a:r>
                <a:r>
                  <a:rPr lang="en-US" sz="1400" dirty="0"/>
                  <a:t> </a:t>
                </a:r>
                <a:r>
                  <a:rPr lang="en-US" sz="1400" dirty="0" err="1"/>
                  <a:t>metus</a:t>
                </a:r>
                <a:r>
                  <a:rPr lang="en-US" sz="1400" dirty="0"/>
                  <a:t>, </a:t>
                </a:r>
                <a:r>
                  <a:rPr lang="en-US" sz="1400" dirty="0" err="1"/>
                  <a:t>ut</a:t>
                </a:r>
                <a:r>
                  <a:rPr lang="en-US" sz="1400" dirty="0"/>
                  <a:t> maximus </a:t>
                </a:r>
                <a:r>
                  <a:rPr lang="en-US" sz="1400" dirty="0" err="1"/>
                  <a:t>orci</a:t>
                </a:r>
                <a:r>
                  <a:rPr lang="en-US" sz="1400" dirty="0"/>
                  <a:t> </a:t>
                </a:r>
                <a:r>
                  <a:rPr lang="en-US" sz="1400" dirty="0" err="1"/>
                  <a:t>tincidunt</a:t>
                </a:r>
                <a:r>
                  <a:rPr lang="en-US" sz="1400" dirty="0"/>
                  <a:t> </a:t>
                </a:r>
                <a:r>
                  <a:rPr lang="en-US" sz="1400" dirty="0" err="1"/>
                  <a:t>eget</a:t>
                </a:r>
                <a:r>
                  <a:rPr lang="en-US" sz="1400" dirty="0"/>
                  <a:t>. Sed sit </a:t>
                </a:r>
                <a:r>
                  <a:rPr lang="en-US" sz="1400" dirty="0" err="1"/>
                  <a:t>amet</a:t>
                </a:r>
                <a:r>
                  <a:rPr lang="en-US" sz="1400" dirty="0"/>
                  <a:t> </a:t>
                </a:r>
                <a:r>
                  <a:rPr lang="en-US" sz="1400" dirty="0" err="1"/>
                  <a:t>purus</a:t>
                </a:r>
                <a:r>
                  <a:rPr lang="en-US" sz="1400" dirty="0"/>
                  <a:t> </a:t>
                </a:r>
                <a:r>
                  <a:rPr lang="en-US" sz="1400" dirty="0" err="1"/>
                  <a:t>eget</a:t>
                </a:r>
                <a:r>
                  <a:rPr lang="en-US" sz="1400" dirty="0"/>
                  <a:t> </a:t>
                </a:r>
                <a:r>
                  <a:rPr lang="en-US" sz="1400" dirty="0" err="1"/>
                  <a:t>nibh</a:t>
                </a:r>
                <a:r>
                  <a:rPr lang="en-US" sz="1400" dirty="0"/>
                  <a:t> </a:t>
                </a:r>
                <a:r>
                  <a:rPr lang="en-US" sz="1400" dirty="0" err="1"/>
                  <a:t>egestas</a:t>
                </a:r>
                <a:r>
                  <a:rPr lang="en-US" sz="1400" dirty="0"/>
                  <a:t> </a:t>
                </a:r>
                <a:r>
                  <a:rPr lang="en-US" sz="1400" dirty="0" err="1"/>
                  <a:t>eleifend</a:t>
                </a:r>
                <a:r>
                  <a:rPr lang="en-US" sz="1400" dirty="0"/>
                  <a:t> </a:t>
                </a:r>
                <a:r>
                  <a:rPr lang="en-US" sz="1400" dirty="0" err="1"/>
                  <a:t>quis</a:t>
                </a:r>
                <a:r>
                  <a:rPr lang="en-US" sz="1400" dirty="0"/>
                  <a:t> sed lorem. </a:t>
                </a:r>
                <a:r>
                  <a:rPr lang="en-US" sz="1400" dirty="0" err="1"/>
                  <a:t>Nullam</a:t>
                </a:r>
                <a:r>
                  <a:rPr lang="en-US" sz="1400" dirty="0"/>
                  <a:t> </a:t>
                </a:r>
                <a:r>
                  <a:rPr lang="en-US" sz="1400" dirty="0" err="1"/>
                  <a:t>leo</a:t>
                </a:r>
                <a:r>
                  <a:rPr lang="en-US" sz="1400" dirty="0"/>
                  <a:t> </a:t>
                </a:r>
                <a:r>
                  <a:rPr lang="en-US" sz="1400" dirty="0" err="1"/>
                  <a:t>eros</a:t>
                </a:r>
                <a:r>
                  <a:rPr lang="en-US" sz="1400" dirty="0"/>
                  <a:t>, porta vitae libero </a:t>
                </a:r>
                <a:r>
                  <a:rPr lang="en-US" sz="1400" dirty="0" err="1"/>
                  <a:t>elementum</a:t>
                </a:r>
                <a:r>
                  <a:rPr lang="en-US" sz="1400" dirty="0"/>
                  <a:t>, </a:t>
                </a:r>
                <a:r>
                  <a:rPr lang="en-US" sz="1400" dirty="0" err="1"/>
                  <a:t>pellentesque</a:t>
                </a:r>
                <a:r>
                  <a:rPr lang="en-US" sz="1400" dirty="0"/>
                  <a:t> vestibulum ex. </a:t>
                </a:r>
              </a:p>
            </p:txBody>
          </p:sp>
        </p:grp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C82036F-0157-48D7-A011-B8C533B3CDF3}"/>
              </a:ext>
            </a:extLst>
          </p:cNvPr>
          <p:cNvGrpSpPr/>
          <p:nvPr/>
        </p:nvGrpSpPr>
        <p:grpSpPr>
          <a:xfrm>
            <a:off x="497480" y="1725919"/>
            <a:ext cx="4909619" cy="4031639"/>
            <a:chOff x="733424" y="1725919"/>
            <a:chExt cx="4909619" cy="4031639"/>
          </a:xfrm>
        </p:grpSpPr>
        <p:sp>
          <p:nvSpPr>
            <p:cNvPr id="29" name="Hexagon 28">
              <a:extLst>
                <a:ext uri="{FF2B5EF4-FFF2-40B4-BE49-F238E27FC236}">
                  <a16:creationId xmlns:a16="http://schemas.microsoft.com/office/drawing/2014/main" id="{A7CDA0FD-0997-4DAF-80AE-9D294E53FE7C}"/>
                </a:ext>
              </a:extLst>
            </p:cNvPr>
            <p:cNvSpPr/>
            <p:nvPr/>
          </p:nvSpPr>
          <p:spPr>
            <a:xfrm rot="5400000">
              <a:off x="580809" y="1878534"/>
              <a:ext cx="2212928" cy="1907697"/>
            </a:xfrm>
            <a:prstGeom prst="hexagon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457200" tIns="0" rtlCol="0" anchor="ctr"/>
            <a:lstStyle/>
            <a:p>
              <a:pPr algn="ctr"/>
              <a:r>
                <a:rPr lang="en-US" sz="1400" b="1" dirty="0"/>
                <a:t>LOREM IPSUM</a:t>
              </a:r>
            </a:p>
          </p:txBody>
        </p:sp>
        <p:sp>
          <p:nvSpPr>
            <p:cNvPr id="30" name="Hexagon 29">
              <a:extLst>
                <a:ext uri="{FF2B5EF4-FFF2-40B4-BE49-F238E27FC236}">
                  <a16:creationId xmlns:a16="http://schemas.microsoft.com/office/drawing/2014/main" id="{F6313F5E-86B7-4262-BFF1-F74D1CE66CA8}"/>
                </a:ext>
              </a:extLst>
            </p:cNvPr>
            <p:cNvSpPr/>
            <p:nvPr/>
          </p:nvSpPr>
          <p:spPr>
            <a:xfrm rot="5400000">
              <a:off x="1581450" y="3697244"/>
              <a:ext cx="2212928" cy="1907697"/>
            </a:xfrm>
            <a:prstGeom prst="hexagon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457200" tIns="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 b="1" dirty="0"/>
                <a:t>LOREM IPSUM</a:t>
              </a:r>
            </a:p>
          </p:txBody>
        </p:sp>
        <p:sp>
          <p:nvSpPr>
            <p:cNvPr id="31" name="Hexagon 30">
              <a:extLst>
                <a:ext uri="{FF2B5EF4-FFF2-40B4-BE49-F238E27FC236}">
                  <a16:creationId xmlns:a16="http://schemas.microsoft.com/office/drawing/2014/main" id="{9706D661-FBE1-4AED-A92C-224CCEC9328A}"/>
                </a:ext>
              </a:extLst>
            </p:cNvPr>
            <p:cNvSpPr/>
            <p:nvPr/>
          </p:nvSpPr>
          <p:spPr>
            <a:xfrm rot="5400000">
              <a:off x="2582091" y="1878534"/>
              <a:ext cx="2212928" cy="1907697"/>
            </a:xfrm>
            <a:prstGeom prst="hexagon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457200" tIns="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 b="1" dirty="0"/>
                <a:t>LOREM IPSUM</a:t>
              </a:r>
            </a:p>
          </p:txBody>
        </p:sp>
        <p:sp>
          <p:nvSpPr>
            <p:cNvPr id="32" name="Hexagon 31">
              <a:extLst>
                <a:ext uri="{FF2B5EF4-FFF2-40B4-BE49-F238E27FC236}">
                  <a16:creationId xmlns:a16="http://schemas.microsoft.com/office/drawing/2014/main" id="{80D2776D-936C-4BBE-BF34-D452CD0C7D2F}"/>
                </a:ext>
              </a:extLst>
            </p:cNvPr>
            <p:cNvSpPr/>
            <p:nvPr/>
          </p:nvSpPr>
          <p:spPr>
            <a:xfrm rot="5400000">
              <a:off x="3582731" y="3697245"/>
              <a:ext cx="2212928" cy="1907697"/>
            </a:xfrm>
            <a:prstGeom prst="hexagon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457200" tIns="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 b="1" dirty="0"/>
                <a:t>LOREM IPSUM</a:t>
              </a:r>
            </a:p>
          </p:txBody>
        </p: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56CEF521-DD09-49D8-8145-C77F4E6E4753}"/>
                </a:ext>
              </a:extLst>
            </p:cNvPr>
            <p:cNvGrpSpPr/>
            <p:nvPr/>
          </p:nvGrpSpPr>
          <p:grpSpPr>
            <a:xfrm>
              <a:off x="1550459" y="2375426"/>
              <a:ext cx="273628" cy="328352"/>
              <a:chOff x="8767763" y="5922963"/>
              <a:chExt cx="238125" cy="285750"/>
            </a:xfrm>
            <a:solidFill>
              <a:schemeClr val="bg1"/>
            </a:solidFill>
          </p:grpSpPr>
          <p:sp>
            <p:nvSpPr>
              <p:cNvPr id="42" name="Freeform 3679">
                <a:extLst>
                  <a:ext uri="{FF2B5EF4-FFF2-40B4-BE49-F238E27FC236}">
                    <a16:creationId xmlns:a16="http://schemas.microsoft.com/office/drawing/2014/main" id="{217656E2-7083-4201-A33A-894B8202C80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815388" y="6027738"/>
                <a:ext cx="142875" cy="66675"/>
              </a:xfrm>
              <a:custGeom>
                <a:avLst/>
                <a:gdLst>
                  <a:gd name="T0" fmla="*/ 166 w 361"/>
                  <a:gd name="T1" fmla="*/ 35 h 168"/>
                  <a:gd name="T2" fmla="*/ 195 w 361"/>
                  <a:gd name="T3" fmla="*/ 35 h 168"/>
                  <a:gd name="T4" fmla="*/ 205 w 361"/>
                  <a:gd name="T5" fmla="*/ 142 h 168"/>
                  <a:gd name="T6" fmla="*/ 155 w 361"/>
                  <a:gd name="T7" fmla="*/ 142 h 168"/>
                  <a:gd name="T8" fmla="*/ 166 w 361"/>
                  <a:gd name="T9" fmla="*/ 35 h 168"/>
                  <a:gd name="T10" fmla="*/ 326 w 361"/>
                  <a:gd name="T11" fmla="*/ 168 h 168"/>
                  <a:gd name="T12" fmla="*/ 339 w 361"/>
                  <a:gd name="T13" fmla="*/ 126 h 168"/>
                  <a:gd name="T14" fmla="*/ 350 w 361"/>
                  <a:gd name="T15" fmla="*/ 82 h 168"/>
                  <a:gd name="T16" fmla="*/ 354 w 361"/>
                  <a:gd name="T17" fmla="*/ 61 h 168"/>
                  <a:gd name="T18" fmla="*/ 358 w 361"/>
                  <a:gd name="T19" fmla="*/ 41 h 168"/>
                  <a:gd name="T20" fmla="*/ 361 w 361"/>
                  <a:gd name="T21" fmla="*/ 25 h 168"/>
                  <a:gd name="T22" fmla="*/ 361 w 361"/>
                  <a:gd name="T23" fmla="*/ 12 h 168"/>
                  <a:gd name="T24" fmla="*/ 359 w 361"/>
                  <a:gd name="T25" fmla="*/ 7 h 168"/>
                  <a:gd name="T26" fmla="*/ 357 w 361"/>
                  <a:gd name="T27" fmla="*/ 3 h 168"/>
                  <a:gd name="T28" fmla="*/ 354 w 361"/>
                  <a:gd name="T29" fmla="*/ 0 h 168"/>
                  <a:gd name="T30" fmla="*/ 349 w 361"/>
                  <a:gd name="T31" fmla="*/ 0 h 168"/>
                  <a:gd name="T32" fmla="*/ 13 w 361"/>
                  <a:gd name="T33" fmla="*/ 0 h 168"/>
                  <a:gd name="T34" fmla="*/ 8 w 361"/>
                  <a:gd name="T35" fmla="*/ 0 h 168"/>
                  <a:gd name="T36" fmla="*/ 4 w 361"/>
                  <a:gd name="T37" fmla="*/ 3 h 168"/>
                  <a:gd name="T38" fmla="*/ 1 w 361"/>
                  <a:gd name="T39" fmla="*/ 7 h 168"/>
                  <a:gd name="T40" fmla="*/ 0 w 361"/>
                  <a:gd name="T41" fmla="*/ 12 h 168"/>
                  <a:gd name="T42" fmla="*/ 1 w 361"/>
                  <a:gd name="T43" fmla="*/ 25 h 168"/>
                  <a:gd name="T44" fmla="*/ 4 w 361"/>
                  <a:gd name="T45" fmla="*/ 41 h 168"/>
                  <a:gd name="T46" fmla="*/ 8 w 361"/>
                  <a:gd name="T47" fmla="*/ 61 h 168"/>
                  <a:gd name="T48" fmla="*/ 11 w 361"/>
                  <a:gd name="T49" fmla="*/ 82 h 168"/>
                  <a:gd name="T50" fmla="*/ 23 w 361"/>
                  <a:gd name="T51" fmla="*/ 126 h 168"/>
                  <a:gd name="T52" fmla="*/ 35 w 361"/>
                  <a:gd name="T53" fmla="*/ 168 h 168"/>
                  <a:gd name="T54" fmla="*/ 326 w 361"/>
                  <a:gd name="T55" fmla="*/ 168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361" h="168">
                    <a:moveTo>
                      <a:pt x="166" y="35"/>
                    </a:moveTo>
                    <a:lnTo>
                      <a:pt x="195" y="35"/>
                    </a:lnTo>
                    <a:lnTo>
                      <a:pt x="205" y="142"/>
                    </a:lnTo>
                    <a:lnTo>
                      <a:pt x="155" y="142"/>
                    </a:lnTo>
                    <a:lnTo>
                      <a:pt x="166" y="35"/>
                    </a:lnTo>
                    <a:close/>
                    <a:moveTo>
                      <a:pt x="326" y="168"/>
                    </a:moveTo>
                    <a:lnTo>
                      <a:pt x="339" y="126"/>
                    </a:lnTo>
                    <a:lnTo>
                      <a:pt x="350" y="82"/>
                    </a:lnTo>
                    <a:lnTo>
                      <a:pt x="354" y="61"/>
                    </a:lnTo>
                    <a:lnTo>
                      <a:pt x="358" y="41"/>
                    </a:lnTo>
                    <a:lnTo>
                      <a:pt x="361" y="25"/>
                    </a:lnTo>
                    <a:lnTo>
                      <a:pt x="361" y="12"/>
                    </a:lnTo>
                    <a:lnTo>
                      <a:pt x="359" y="7"/>
                    </a:lnTo>
                    <a:lnTo>
                      <a:pt x="357" y="3"/>
                    </a:lnTo>
                    <a:lnTo>
                      <a:pt x="354" y="0"/>
                    </a:lnTo>
                    <a:lnTo>
                      <a:pt x="349" y="0"/>
                    </a:lnTo>
                    <a:lnTo>
                      <a:pt x="13" y="0"/>
                    </a:lnTo>
                    <a:lnTo>
                      <a:pt x="8" y="0"/>
                    </a:lnTo>
                    <a:lnTo>
                      <a:pt x="4" y="3"/>
                    </a:lnTo>
                    <a:lnTo>
                      <a:pt x="1" y="7"/>
                    </a:lnTo>
                    <a:lnTo>
                      <a:pt x="0" y="12"/>
                    </a:lnTo>
                    <a:lnTo>
                      <a:pt x="1" y="25"/>
                    </a:lnTo>
                    <a:lnTo>
                      <a:pt x="4" y="41"/>
                    </a:lnTo>
                    <a:lnTo>
                      <a:pt x="8" y="61"/>
                    </a:lnTo>
                    <a:lnTo>
                      <a:pt x="11" y="82"/>
                    </a:lnTo>
                    <a:lnTo>
                      <a:pt x="23" y="126"/>
                    </a:lnTo>
                    <a:lnTo>
                      <a:pt x="35" y="168"/>
                    </a:lnTo>
                    <a:lnTo>
                      <a:pt x="326" y="16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3680">
                <a:extLst>
                  <a:ext uri="{FF2B5EF4-FFF2-40B4-BE49-F238E27FC236}">
                    <a16:creationId xmlns:a16="http://schemas.microsoft.com/office/drawing/2014/main" id="{0044F65B-9375-4A00-A64D-9127D34C90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42375" y="6122988"/>
                <a:ext cx="88900" cy="85725"/>
              </a:xfrm>
              <a:custGeom>
                <a:avLst/>
                <a:gdLst>
                  <a:gd name="T0" fmla="*/ 32 w 227"/>
                  <a:gd name="T1" fmla="*/ 216 h 216"/>
                  <a:gd name="T2" fmla="*/ 196 w 227"/>
                  <a:gd name="T3" fmla="*/ 216 h 216"/>
                  <a:gd name="T4" fmla="*/ 227 w 227"/>
                  <a:gd name="T5" fmla="*/ 0 h 216"/>
                  <a:gd name="T6" fmla="*/ 0 w 227"/>
                  <a:gd name="T7" fmla="*/ 0 h 216"/>
                  <a:gd name="T8" fmla="*/ 32 w 227"/>
                  <a:gd name="T9" fmla="*/ 216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7" h="216">
                    <a:moveTo>
                      <a:pt x="32" y="216"/>
                    </a:moveTo>
                    <a:lnTo>
                      <a:pt x="196" y="216"/>
                    </a:lnTo>
                    <a:lnTo>
                      <a:pt x="227" y="0"/>
                    </a:lnTo>
                    <a:lnTo>
                      <a:pt x="0" y="0"/>
                    </a:lnTo>
                    <a:lnTo>
                      <a:pt x="32" y="21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3681">
                <a:extLst>
                  <a:ext uri="{FF2B5EF4-FFF2-40B4-BE49-F238E27FC236}">
                    <a16:creationId xmlns:a16="http://schemas.microsoft.com/office/drawing/2014/main" id="{E016B886-8BDD-4900-BE0D-D3F948C1AF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39200" y="5922963"/>
                <a:ext cx="95250" cy="95250"/>
              </a:xfrm>
              <a:custGeom>
                <a:avLst/>
                <a:gdLst>
                  <a:gd name="T0" fmla="*/ 133 w 240"/>
                  <a:gd name="T1" fmla="*/ 239 h 240"/>
                  <a:gd name="T2" fmla="*/ 157 w 240"/>
                  <a:gd name="T3" fmla="*/ 235 h 240"/>
                  <a:gd name="T4" fmla="*/ 177 w 240"/>
                  <a:gd name="T5" fmla="*/ 226 h 240"/>
                  <a:gd name="T6" fmla="*/ 197 w 240"/>
                  <a:gd name="T7" fmla="*/ 212 h 240"/>
                  <a:gd name="T8" fmla="*/ 213 w 240"/>
                  <a:gd name="T9" fmla="*/ 196 h 240"/>
                  <a:gd name="T10" fmla="*/ 226 w 240"/>
                  <a:gd name="T11" fmla="*/ 177 h 240"/>
                  <a:gd name="T12" fmla="*/ 235 w 240"/>
                  <a:gd name="T13" fmla="*/ 155 h 240"/>
                  <a:gd name="T14" fmla="*/ 240 w 240"/>
                  <a:gd name="T15" fmla="*/ 132 h 240"/>
                  <a:gd name="T16" fmla="*/ 240 w 240"/>
                  <a:gd name="T17" fmla="*/ 108 h 240"/>
                  <a:gd name="T18" fmla="*/ 235 w 240"/>
                  <a:gd name="T19" fmla="*/ 83 h 240"/>
                  <a:gd name="T20" fmla="*/ 226 w 240"/>
                  <a:gd name="T21" fmla="*/ 63 h 240"/>
                  <a:gd name="T22" fmla="*/ 213 w 240"/>
                  <a:gd name="T23" fmla="*/ 43 h 240"/>
                  <a:gd name="T24" fmla="*/ 197 w 240"/>
                  <a:gd name="T25" fmla="*/ 27 h 240"/>
                  <a:gd name="T26" fmla="*/ 177 w 240"/>
                  <a:gd name="T27" fmla="*/ 14 h 240"/>
                  <a:gd name="T28" fmla="*/ 157 w 240"/>
                  <a:gd name="T29" fmla="*/ 5 h 240"/>
                  <a:gd name="T30" fmla="*/ 133 w 240"/>
                  <a:gd name="T31" fmla="*/ 0 h 240"/>
                  <a:gd name="T32" fmla="*/ 108 w 240"/>
                  <a:gd name="T33" fmla="*/ 0 h 240"/>
                  <a:gd name="T34" fmla="*/ 85 w 240"/>
                  <a:gd name="T35" fmla="*/ 5 h 240"/>
                  <a:gd name="T36" fmla="*/ 63 w 240"/>
                  <a:gd name="T37" fmla="*/ 14 h 240"/>
                  <a:gd name="T38" fmla="*/ 44 w 240"/>
                  <a:gd name="T39" fmla="*/ 27 h 240"/>
                  <a:gd name="T40" fmla="*/ 28 w 240"/>
                  <a:gd name="T41" fmla="*/ 43 h 240"/>
                  <a:gd name="T42" fmla="*/ 16 w 240"/>
                  <a:gd name="T43" fmla="*/ 63 h 240"/>
                  <a:gd name="T44" fmla="*/ 5 w 240"/>
                  <a:gd name="T45" fmla="*/ 83 h 240"/>
                  <a:gd name="T46" fmla="*/ 2 w 240"/>
                  <a:gd name="T47" fmla="*/ 108 h 240"/>
                  <a:gd name="T48" fmla="*/ 2 w 240"/>
                  <a:gd name="T49" fmla="*/ 132 h 240"/>
                  <a:gd name="T50" fmla="*/ 5 w 240"/>
                  <a:gd name="T51" fmla="*/ 155 h 240"/>
                  <a:gd name="T52" fmla="*/ 16 w 240"/>
                  <a:gd name="T53" fmla="*/ 177 h 240"/>
                  <a:gd name="T54" fmla="*/ 28 w 240"/>
                  <a:gd name="T55" fmla="*/ 196 h 240"/>
                  <a:gd name="T56" fmla="*/ 44 w 240"/>
                  <a:gd name="T57" fmla="*/ 212 h 240"/>
                  <a:gd name="T58" fmla="*/ 63 w 240"/>
                  <a:gd name="T59" fmla="*/ 226 h 240"/>
                  <a:gd name="T60" fmla="*/ 85 w 240"/>
                  <a:gd name="T61" fmla="*/ 235 h 240"/>
                  <a:gd name="T62" fmla="*/ 108 w 240"/>
                  <a:gd name="T63" fmla="*/ 239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40" h="240">
                    <a:moveTo>
                      <a:pt x="121" y="240"/>
                    </a:moveTo>
                    <a:lnTo>
                      <a:pt x="133" y="239"/>
                    </a:lnTo>
                    <a:lnTo>
                      <a:pt x="145" y="237"/>
                    </a:lnTo>
                    <a:lnTo>
                      <a:pt x="157" y="235"/>
                    </a:lnTo>
                    <a:lnTo>
                      <a:pt x="167" y="230"/>
                    </a:lnTo>
                    <a:lnTo>
                      <a:pt x="177" y="226"/>
                    </a:lnTo>
                    <a:lnTo>
                      <a:pt x="188" y="219"/>
                    </a:lnTo>
                    <a:lnTo>
                      <a:pt x="197" y="212"/>
                    </a:lnTo>
                    <a:lnTo>
                      <a:pt x="206" y="204"/>
                    </a:lnTo>
                    <a:lnTo>
                      <a:pt x="213" y="196"/>
                    </a:lnTo>
                    <a:lnTo>
                      <a:pt x="220" y="187"/>
                    </a:lnTo>
                    <a:lnTo>
                      <a:pt x="226" y="177"/>
                    </a:lnTo>
                    <a:lnTo>
                      <a:pt x="231" y="167"/>
                    </a:lnTo>
                    <a:lnTo>
                      <a:pt x="235" y="155"/>
                    </a:lnTo>
                    <a:lnTo>
                      <a:pt x="239" y="144"/>
                    </a:lnTo>
                    <a:lnTo>
                      <a:pt x="240" y="132"/>
                    </a:lnTo>
                    <a:lnTo>
                      <a:pt x="240" y="119"/>
                    </a:lnTo>
                    <a:lnTo>
                      <a:pt x="240" y="108"/>
                    </a:lnTo>
                    <a:lnTo>
                      <a:pt x="239" y="95"/>
                    </a:lnTo>
                    <a:lnTo>
                      <a:pt x="235" y="83"/>
                    </a:lnTo>
                    <a:lnTo>
                      <a:pt x="231" y="73"/>
                    </a:lnTo>
                    <a:lnTo>
                      <a:pt x="226" y="63"/>
                    </a:lnTo>
                    <a:lnTo>
                      <a:pt x="220" y="52"/>
                    </a:lnTo>
                    <a:lnTo>
                      <a:pt x="213" y="43"/>
                    </a:lnTo>
                    <a:lnTo>
                      <a:pt x="206" y="34"/>
                    </a:lnTo>
                    <a:lnTo>
                      <a:pt x="197" y="27"/>
                    </a:lnTo>
                    <a:lnTo>
                      <a:pt x="188" y="20"/>
                    </a:lnTo>
                    <a:lnTo>
                      <a:pt x="177" y="14"/>
                    </a:lnTo>
                    <a:lnTo>
                      <a:pt x="167" y="9"/>
                    </a:lnTo>
                    <a:lnTo>
                      <a:pt x="157" y="5"/>
                    </a:lnTo>
                    <a:lnTo>
                      <a:pt x="145" y="2"/>
                    </a:lnTo>
                    <a:lnTo>
                      <a:pt x="133" y="0"/>
                    </a:lnTo>
                    <a:lnTo>
                      <a:pt x="121" y="0"/>
                    </a:lnTo>
                    <a:lnTo>
                      <a:pt x="108" y="0"/>
                    </a:lnTo>
                    <a:lnTo>
                      <a:pt x="97" y="2"/>
                    </a:lnTo>
                    <a:lnTo>
                      <a:pt x="85" y="5"/>
                    </a:lnTo>
                    <a:lnTo>
                      <a:pt x="73" y="9"/>
                    </a:lnTo>
                    <a:lnTo>
                      <a:pt x="63" y="14"/>
                    </a:lnTo>
                    <a:lnTo>
                      <a:pt x="54" y="20"/>
                    </a:lnTo>
                    <a:lnTo>
                      <a:pt x="44" y="27"/>
                    </a:lnTo>
                    <a:lnTo>
                      <a:pt x="36" y="34"/>
                    </a:lnTo>
                    <a:lnTo>
                      <a:pt x="28" y="43"/>
                    </a:lnTo>
                    <a:lnTo>
                      <a:pt x="21" y="52"/>
                    </a:lnTo>
                    <a:lnTo>
                      <a:pt x="16" y="63"/>
                    </a:lnTo>
                    <a:lnTo>
                      <a:pt x="11" y="73"/>
                    </a:lnTo>
                    <a:lnTo>
                      <a:pt x="5" y="83"/>
                    </a:lnTo>
                    <a:lnTo>
                      <a:pt x="3" y="95"/>
                    </a:lnTo>
                    <a:lnTo>
                      <a:pt x="2" y="108"/>
                    </a:lnTo>
                    <a:lnTo>
                      <a:pt x="0" y="119"/>
                    </a:lnTo>
                    <a:lnTo>
                      <a:pt x="2" y="132"/>
                    </a:lnTo>
                    <a:lnTo>
                      <a:pt x="3" y="144"/>
                    </a:lnTo>
                    <a:lnTo>
                      <a:pt x="5" y="155"/>
                    </a:lnTo>
                    <a:lnTo>
                      <a:pt x="11" y="167"/>
                    </a:lnTo>
                    <a:lnTo>
                      <a:pt x="16" y="177"/>
                    </a:lnTo>
                    <a:lnTo>
                      <a:pt x="21" y="187"/>
                    </a:lnTo>
                    <a:lnTo>
                      <a:pt x="28" y="196"/>
                    </a:lnTo>
                    <a:lnTo>
                      <a:pt x="36" y="204"/>
                    </a:lnTo>
                    <a:lnTo>
                      <a:pt x="44" y="212"/>
                    </a:lnTo>
                    <a:lnTo>
                      <a:pt x="54" y="219"/>
                    </a:lnTo>
                    <a:lnTo>
                      <a:pt x="63" y="226"/>
                    </a:lnTo>
                    <a:lnTo>
                      <a:pt x="73" y="230"/>
                    </a:lnTo>
                    <a:lnTo>
                      <a:pt x="85" y="235"/>
                    </a:lnTo>
                    <a:lnTo>
                      <a:pt x="97" y="237"/>
                    </a:lnTo>
                    <a:lnTo>
                      <a:pt x="108" y="239"/>
                    </a:lnTo>
                    <a:lnTo>
                      <a:pt x="121" y="24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3682">
                <a:extLst>
                  <a:ext uri="{FF2B5EF4-FFF2-40B4-BE49-F238E27FC236}">
                    <a16:creationId xmlns:a16="http://schemas.microsoft.com/office/drawing/2014/main" id="{9E64E32F-CB2B-4FB0-BF2B-159C5CC176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67763" y="6103938"/>
                <a:ext cx="238125" cy="9525"/>
              </a:xfrm>
              <a:custGeom>
                <a:avLst/>
                <a:gdLst>
                  <a:gd name="T0" fmla="*/ 589 w 601"/>
                  <a:gd name="T1" fmla="*/ 0 h 24"/>
                  <a:gd name="T2" fmla="*/ 420 w 601"/>
                  <a:gd name="T3" fmla="*/ 0 h 24"/>
                  <a:gd name="T4" fmla="*/ 180 w 601"/>
                  <a:gd name="T5" fmla="*/ 0 h 24"/>
                  <a:gd name="T6" fmla="*/ 12 w 601"/>
                  <a:gd name="T7" fmla="*/ 0 h 24"/>
                  <a:gd name="T8" fmla="*/ 8 w 601"/>
                  <a:gd name="T9" fmla="*/ 1 h 24"/>
                  <a:gd name="T10" fmla="*/ 4 w 601"/>
                  <a:gd name="T11" fmla="*/ 3 h 24"/>
                  <a:gd name="T12" fmla="*/ 2 w 601"/>
                  <a:gd name="T13" fmla="*/ 7 h 24"/>
                  <a:gd name="T14" fmla="*/ 0 w 601"/>
                  <a:gd name="T15" fmla="*/ 12 h 24"/>
                  <a:gd name="T16" fmla="*/ 2 w 601"/>
                  <a:gd name="T17" fmla="*/ 16 h 24"/>
                  <a:gd name="T18" fmla="*/ 4 w 601"/>
                  <a:gd name="T19" fmla="*/ 20 h 24"/>
                  <a:gd name="T20" fmla="*/ 8 w 601"/>
                  <a:gd name="T21" fmla="*/ 23 h 24"/>
                  <a:gd name="T22" fmla="*/ 12 w 601"/>
                  <a:gd name="T23" fmla="*/ 24 h 24"/>
                  <a:gd name="T24" fmla="*/ 208 w 601"/>
                  <a:gd name="T25" fmla="*/ 24 h 24"/>
                  <a:gd name="T26" fmla="*/ 392 w 601"/>
                  <a:gd name="T27" fmla="*/ 24 h 24"/>
                  <a:gd name="T28" fmla="*/ 589 w 601"/>
                  <a:gd name="T29" fmla="*/ 24 h 24"/>
                  <a:gd name="T30" fmla="*/ 594 w 601"/>
                  <a:gd name="T31" fmla="*/ 23 h 24"/>
                  <a:gd name="T32" fmla="*/ 598 w 601"/>
                  <a:gd name="T33" fmla="*/ 20 h 24"/>
                  <a:gd name="T34" fmla="*/ 600 w 601"/>
                  <a:gd name="T35" fmla="*/ 16 h 24"/>
                  <a:gd name="T36" fmla="*/ 601 w 601"/>
                  <a:gd name="T37" fmla="*/ 12 h 24"/>
                  <a:gd name="T38" fmla="*/ 600 w 601"/>
                  <a:gd name="T39" fmla="*/ 7 h 24"/>
                  <a:gd name="T40" fmla="*/ 598 w 601"/>
                  <a:gd name="T41" fmla="*/ 3 h 24"/>
                  <a:gd name="T42" fmla="*/ 594 w 601"/>
                  <a:gd name="T43" fmla="*/ 1 h 24"/>
                  <a:gd name="T44" fmla="*/ 589 w 601"/>
                  <a:gd name="T45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601" h="24">
                    <a:moveTo>
                      <a:pt x="589" y="0"/>
                    </a:moveTo>
                    <a:lnTo>
                      <a:pt x="420" y="0"/>
                    </a:lnTo>
                    <a:lnTo>
                      <a:pt x="180" y="0"/>
                    </a:lnTo>
                    <a:lnTo>
                      <a:pt x="12" y="0"/>
                    </a:lnTo>
                    <a:lnTo>
                      <a:pt x="8" y="1"/>
                    </a:lnTo>
                    <a:lnTo>
                      <a:pt x="4" y="3"/>
                    </a:lnTo>
                    <a:lnTo>
                      <a:pt x="2" y="7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4" y="20"/>
                    </a:lnTo>
                    <a:lnTo>
                      <a:pt x="8" y="23"/>
                    </a:lnTo>
                    <a:lnTo>
                      <a:pt x="12" y="24"/>
                    </a:lnTo>
                    <a:lnTo>
                      <a:pt x="208" y="24"/>
                    </a:lnTo>
                    <a:lnTo>
                      <a:pt x="392" y="24"/>
                    </a:lnTo>
                    <a:lnTo>
                      <a:pt x="589" y="24"/>
                    </a:lnTo>
                    <a:lnTo>
                      <a:pt x="594" y="23"/>
                    </a:lnTo>
                    <a:lnTo>
                      <a:pt x="598" y="20"/>
                    </a:lnTo>
                    <a:lnTo>
                      <a:pt x="600" y="16"/>
                    </a:lnTo>
                    <a:lnTo>
                      <a:pt x="601" y="12"/>
                    </a:lnTo>
                    <a:lnTo>
                      <a:pt x="600" y="7"/>
                    </a:lnTo>
                    <a:lnTo>
                      <a:pt x="598" y="3"/>
                    </a:lnTo>
                    <a:lnTo>
                      <a:pt x="594" y="1"/>
                    </a:lnTo>
                    <a:lnTo>
                      <a:pt x="589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id="{819FFFAE-A4A1-4FCD-BE90-31BA0D7F500E}"/>
                </a:ext>
              </a:extLst>
            </p:cNvPr>
            <p:cNvGrpSpPr/>
            <p:nvPr/>
          </p:nvGrpSpPr>
          <p:grpSpPr>
            <a:xfrm>
              <a:off x="3523499" y="2375426"/>
              <a:ext cx="326538" cy="328352"/>
              <a:chOff x="3746500" y="1344613"/>
              <a:chExt cx="285750" cy="287338"/>
            </a:xfrm>
            <a:solidFill>
              <a:schemeClr val="bg1"/>
            </a:solidFill>
          </p:grpSpPr>
          <p:sp>
            <p:nvSpPr>
              <p:cNvPr id="47" name="Freeform 497">
                <a:extLst>
                  <a:ext uri="{FF2B5EF4-FFF2-40B4-BE49-F238E27FC236}">
                    <a16:creationId xmlns:a16="http://schemas.microsoft.com/office/drawing/2014/main" id="{BBB51A8C-CDAE-47BD-9C32-DE24250692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6500" y="1344613"/>
                <a:ext cx="285750" cy="182563"/>
              </a:xfrm>
              <a:custGeom>
                <a:avLst/>
                <a:gdLst>
                  <a:gd name="T0" fmla="*/ 0 w 903"/>
                  <a:gd name="T1" fmla="*/ 0 h 573"/>
                  <a:gd name="T2" fmla="*/ 0 w 903"/>
                  <a:gd name="T3" fmla="*/ 467 h 573"/>
                  <a:gd name="T4" fmla="*/ 1 w 903"/>
                  <a:gd name="T5" fmla="*/ 459 h 573"/>
                  <a:gd name="T6" fmla="*/ 2 w 903"/>
                  <a:gd name="T7" fmla="*/ 453 h 573"/>
                  <a:gd name="T8" fmla="*/ 5 w 903"/>
                  <a:gd name="T9" fmla="*/ 446 h 573"/>
                  <a:gd name="T10" fmla="*/ 8 w 903"/>
                  <a:gd name="T11" fmla="*/ 440 h 573"/>
                  <a:gd name="T12" fmla="*/ 12 w 903"/>
                  <a:gd name="T13" fmla="*/ 434 h 573"/>
                  <a:gd name="T14" fmla="*/ 18 w 903"/>
                  <a:gd name="T15" fmla="*/ 428 h 573"/>
                  <a:gd name="T16" fmla="*/ 23 w 903"/>
                  <a:gd name="T17" fmla="*/ 423 h 573"/>
                  <a:gd name="T18" fmla="*/ 30 w 903"/>
                  <a:gd name="T19" fmla="*/ 419 h 573"/>
                  <a:gd name="T20" fmla="*/ 30 w 903"/>
                  <a:gd name="T21" fmla="*/ 30 h 573"/>
                  <a:gd name="T22" fmla="*/ 873 w 903"/>
                  <a:gd name="T23" fmla="*/ 30 h 573"/>
                  <a:gd name="T24" fmla="*/ 873 w 903"/>
                  <a:gd name="T25" fmla="*/ 543 h 573"/>
                  <a:gd name="T26" fmla="*/ 481 w 903"/>
                  <a:gd name="T27" fmla="*/ 543 h 573"/>
                  <a:gd name="T28" fmla="*/ 481 w 903"/>
                  <a:gd name="T29" fmla="*/ 573 h 573"/>
                  <a:gd name="T30" fmla="*/ 903 w 903"/>
                  <a:gd name="T31" fmla="*/ 573 h 573"/>
                  <a:gd name="T32" fmla="*/ 903 w 903"/>
                  <a:gd name="T33" fmla="*/ 0 h 573"/>
                  <a:gd name="T34" fmla="*/ 0 w 903"/>
                  <a:gd name="T35" fmla="*/ 0 h 5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03" h="573">
                    <a:moveTo>
                      <a:pt x="0" y="0"/>
                    </a:moveTo>
                    <a:lnTo>
                      <a:pt x="0" y="467"/>
                    </a:lnTo>
                    <a:lnTo>
                      <a:pt x="1" y="459"/>
                    </a:lnTo>
                    <a:lnTo>
                      <a:pt x="2" y="453"/>
                    </a:lnTo>
                    <a:lnTo>
                      <a:pt x="5" y="446"/>
                    </a:lnTo>
                    <a:lnTo>
                      <a:pt x="8" y="440"/>
                    </a:lnTo>
                    <a:lnTo>
                      <a:pt x="12" y="434"/>
                    </a:lnTo>
                    <a:lnTo>
                      <a:pt x="18" y="428"/>
                    </a:lnTo>
                    <a:lnTo>
                      <a:pt x="23" y="423"/>
                    </a:lnTo>
                    <a:lnTo>
                      <a:pt x="30" y="419"/>
                    </a:lnTo>
                    <a:lnTo>
                      <a:pt x="30" y="30"/>
                    </a:lnTo>
                    <a:lnTo>
                      <a:pt x="873" y="30"/>
                    </a:lnTo>
                    <a:lnTo>
                      <a:pt x="873" y="543"/>
                    </a:lnTo>
                    <a:lnTo>
                      <a:pt x="481" y="543"/>
                    </a:lnTo>
                    <a:lnTo>
                      <a:pt x="481" y="573"/>
                    </a:lnTo>
                    <a:lnTo>
                      <a:pt x="903" y="573"/>
                    </a:lnTo>
                    <a:lnTo>
                      <a:pt x="903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498">
                <a:extLst>
                  <a:ext uri="{FF2B5EF4-FFF2-40B4-BE49-F238E27FC236}">
                    <a16:creationId xmlns:a16="http://schemas.microsoft.com/office/drawing/2014/main" id="{50DD9A38-C9C9-449B-BF74-DE58AF546AD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75075" y="1373188"/>
                <a:ext cx="228600" cy="125413"/>
              </a:xfrm>
              <a:custGeom>
                <a:avLst/>
                <a:gdLst>
                  <a:gd name="T0" fmla="*/ 330 w 723"/>
                  <a:gd name="T1" fmla="*/ 283 h 392"/>
                  <a:gd name="T2" fmla="*/ 295 w 723"/>
                  <a:gd name="T3" fmla="*/ 263 h 392"/>
                  <a:gd name="T4" fmla="*/ 269 w 723"/>
                  <a:gd name="T5" fmla="*/ 232 h 392"/>
                  <a:gd name="T6" fmla="*/ 257 w 723"/>
                  <a:gd name="T7" fmla="*/ 192 h 392"/>
                  <a:gd name="T8" fmla="*/ 260 w 723"/>
                  <a:gd name="T9" fmla="*/ 151 h 392"/>
                  <a:gd name="T10" fmla="*/ 281 w 723"/>
                  <a:gd name="T11" fmla="*/ 115 h 392"/>
                  <a:gd name="T12" fmla="*/ 312 w 723"/>
                  <a:gd name="T13" fmla="*/ 90 h 392"/>
                  <a:gd name="T14" fmla="*/ 350 w 723"/>
                  <a:gd name="T15" fmla="*/ 77 h 392"/>
                  <a:gd name="T16" fmla="*/ 392 w 723"/>
                  <a:gd name="T17" fmla="*/ 81 h 392"/>
                  <a:gd name="T18" fmla="*/ 429 w 723"/>
                  <a:gd name="T19" fmla="*/ 100 h 392"/>
                  <a:gd name="T20" fmla="*/ 454 w 723"/>
                  <a:gd name="T21" fmla="*/ 131 h 392"/>
                  <a:gd name="T22" fmla="*/ 466 w 723"/>
                  <a:gd name="T23" fmla="*/ 171 h 392"/>
                  <a:gd name="T24" fmla="*/ 462 w 723"/>
                  <a:gd name="T25" fmla="*/ 213 h 392"/>
                  <a:gd name="T26" fmla="*/ 443 w 723"/>
                  <a:gd name="T27" fmla="*/ 248 h 392"/>
                  <a:gd name="T28" fmla="*/ 412 w 723"/>
                  <a:gd name="T29" fmla="*/ 274 h 392"/>
                  <a:gd name="T30" fmla="*/ 372 w 723"/>
                  <a:gd name="T31" fmla="*/ 287 h 392"/>
                  <a:gd name="T32" fmla="*/ 96 w 723"/>
                  <a:gd name="T33" fmla="*/ 151 h 392"/>
                  <a:gd name="T34" fmla="*/ 68 w 723"/>
                  <a:gd name="T35" fmla="*/ 131 h 392"/>
                  <a:gd name="T36" fmla="*/ 61 w 723"/>
                  <a:gd name="T37" fmla="*/ 97 h 392"/>
                  <a:gd name="T38" fmla="*/ 80 w 723"/>
                  <a:gd name="T39" fmla="*/ 69 h 392"/>
                  <a:gd name="T40" fmla="*/ 114 w 723"/>
                  <a:gd name="T41" fmla="*/ 63 h 392"/>
                  <a:gd name="T42" fmla="*/ 143 w 723"/>
                  <a:gd name="T43" fmla="*/ 81 h 392"/>
                  <a:gd name="T44" fmla="*/ 150 w 723"/>
                  <a:gd name="T45" fmla="*/ 115 h 392"/>
                  <a:gd name="T46" fmla="*/ 131 w 723"/>
                  <a:gd name="T47" fmla="*/ 144 h 392"/>
                  <a:gd name="T48" fmla="*/ 106 w 723"/>
                  <a:gd name="T49" fmla="*/ 152 h 392"/>
                  <a:gd name="T50" fmla="*/ 642 w 723"/>
                  <a:gd name="T51" fmla="*/ 249 h 392"/>
                  <a:gd name="T52" fmla="*/ 661 w 723"/>
                  <a:gd name="T53" fmla="*/ 278 h 392"/>
                  <a:gd name="T54" fmla="*/ 655 w 723"/>
                  <a:gd name="T55" fmla="*/ 313 h 392"/>
                  <a:gd name="T56" fmla="*/ 626 w 723"/>
                  <a:gd name="T57" fmla="*/ 331 h 392"/>
                  <a:gd name="T58" fmla="*/ 592 w 723"/>
                  <a:gd name="T59" fmla="*/ 324 h 392"/>
                  <a:gd name="T60" fmla="*/ 573 w 723"/>
                  <a:gd name="T61" fmla="*/ 297 h 392"/>
                  <a:gd name="T62" fmla="*/ 580 w 723"/>
                  <a:gd name="T63" fmla="*/ 262 h 392"/>
                  <a:gd name="T64" fmla="*/ 608 w 723"/>
                  <a:gd name="T65" fmla="*/ 243 h 392"/>
                  <a:gd name="T66" fmla="*/ 669 w 723"/>
                  <a:gd name="T67" fmla="*/ 392 h 392"/>
                  <a:gd name="T68" fmla="*/ 691 w 723"/>
                  <a:gd name="T69" fmla="*/ 386 h 392"/>
                  <a:gd name="T70" fmla="*/ 709 w 723"/>
                  <a:gd name="T71" fmla="*/ 371 h 392"/>
                  <a:gd name="T72" fmla="*/ 720 w 723"/>
                  <a:gd name="T73" fmla="*/ 350 h 392"/>
                  <a:gd name="T74" fmla="*/ 723 w 723"/>
                  <a:gd name="T75" fmla="*/ 62 h 392"/>
                  <a:gd name="T76" fmla="*/ 718 w 723"/>
                  <a:gd name="T77" fmla="*/ 38 h 392"/>
                  <a:gd name="T78" fmla="*/ 705 w 723"/>
                  <a:gd name="T79" fmla="*/ 19 h 392"/>
                  <a:gd name="T80" fmla="*/ 686 w 723"/>
                  <a:gd name="T81" fmla="*/ 6 h 392"/>
                  <a:gd name="T82" fmla="*/ 663 w 723"/>
                  <a:gd name="T83" fmla="*/ 2 h 392"/>
                  <a:gd name="T84" fmla="*/ 43 w 723"/>
                  <a:gd name="T85" fmla="*/ 4 h 392"/>
                  <a:gd name="T86" fmla="*/ 22 w 723"/>
                  <a:gd name="T87" fmla="*/ 14 h 392"/>
                  <a:gd name="T88" fmla="*/ 7 w 723"/>
                  <a:gd name="T89" fmla="*/ 33 h 392"/>
                  <a:gd name="T90" fmla="*/ 1 w 723"/>
                  <a:gd name="T91" fmla="*/ 55 h 392"/>
                  <a:gd name="T92" fmla="*/ 46 w 723"/>
                  <a:gd name="T93" fmla="*/ 294 h 392"/>
                  <a:gd name="T94" fmla="*/ 151 w 723"/>
                  <a:gd name="T95" fmla="*/ 287 h 392"/>
                  <a:gd name="T96" fmla="*/ 244 w 723"/>
                  <a:gd name="T97" fmla="*/ 293 h 392"/>
                  <a:gd name="T98" fmla="*/ 326 w 723"/>
                  <a:gd name="T99" fmla="*/ 312 h 392"/>
                  <a:gd name="T100" fmla="*/ 373 w 723"/>
                  <a:gd name="T101" fmla="*/ 337 h 392"/>
                  <a:gd name="T102" fmla="*/ 389 w 723"/>
                  <a:gd name="T103" fmla="*/ 362 h 3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723" h="392">
                    <a:moveTo>
                      <a:pt x="361" y="287"/>
                    </a:moveTo>
                    <a:lnTo>
                      <a:pt x="350" y="287"/>
                    </a:lnTo>
                    <a:lnTo>
                      <a:pt x="341" y="285"/>
                    </a:lnTo>
                    <a:lnTo>
                      <a:pt x="330" y="283"/>
                    </a:lnTo>
                    <a:lnTo>
                      <a:pt x="320" y="278"/>
                    </a:lnTo>
                    <a:lnTo>
                      <a:pt x="312" y="274"/>
                    </a:lnTo>
                    <a:lnTo>
                      <a:pt x="302" y="269"/>
                    </a:lnTo>
                    <a:lnTo>
                      <a:pt x="295" y="263"/>
                    </a:lnTo>
                    <a:lnTo>
                      <a:pt x="287" y="256"/>
                    </a:lnTo>
                    <a:lnTo>
                      <a:pt x="281" y="248"/>
                    </a:lnTo>
                    <a:lnTo>
                      <a:pt x="274" y="241"/>
                    </a:lnTo>
                    <a:lnTo>
                      <a:pt x="269" y="232"/>
                    </a:lnTo>
                    <a:lnTo>
                      <a:pt x="265" y="223"/>
                    </a:lnTo>
                    <a:lnTo>
                      <a:pt x="260" y="213"/>
                    </a:lnTo>
                    <a:lnTo>
                      <a:pt x="258" y="203"/>
                    </a:lnTo>
                    <a:lnTo>
                      <a:pt x="257" y="192"/>
                    </a:lnTo>
                    <a:lnTo>
                      <a:pt x="256" y="182"/>
                    </a:lnTo>
                    <a:lnTo>
                      <a:pt x="257" y="171"/>
                    </a:lnTo>
                    <a:lnTo>
                      <a:pt x="258" y="160"/>
                    </a:lnTo>
                    <a:lnTo>
                      <a:pt x="260" y="151"/>
                    </a:lnTo>
                    <a:lnTo>
                      <a:pt x="265" y="141"/>
                    </a:lnTo>
                    <a:lnTo>
                      <a:pt x="269" y="131"/>
                    </a:lnTo>
                    <a:lnTo>
                      <a:pt x="274" y="123"/>
                    </a:lnTo>
                    <a:lnTo>
                      <a:pt x="281" y="115"/>
                    </a:lnTo>
                    <a:lnTo>
                      <a:pt x="287" y="108"/>
                    </a:lnTo>
                    <a:lnTo>
                      <a:pt x="295" y="100"/>
                    </a:lnTo>
                    <a:lnTo>
                      <a:pt x="302" y="95"/>
                    </a:lnTo>
                    <a:lnTo>
                      <a:pt x="312" y="90"/>
                    </a:lnTo>
                    <a:lnTo>
                      <a:pt x="320" y="84"/>
                    </a:lnTo>
                    <a:lnTo>
                      <a:pt x="330" y="81"/>
                    </a:lnTo>
                    <a:lnTo>
                      <a:pt x="341" y="79"/>
                    </a:lnTo>
                    <a:lnTo>
                      <a:pt x="350" y="77"/>
                    </a:lnTo>
                    <a:lnTo>
                      <a:pt x="361" y="77"/>
                    </a:lnTo>
                    <a:lnTo>
                      <a:pt x="372" y="77"/>
                    </a:lnTo>
                    <a:lnTo>
                      <a:pt x="383" y="79"/>
                    </a:lnTo>
                    <a:lnTo>
                      <a:pt x="392" y="81"/>
                    </a:lnTo>
                    <a:lnTo>
                      <a:pt x="403" y="84"/>
                    </a:lnTo>
                    <a:lnTo>
                      <a:pt x="412" y="90"/>
                    </a:lnTo>
                    <a:lnTo>
                      <a:pt x="420" y="95"/>
                    </a:lnTo>
                    <a:lnTo>
                      <a:pt x="429" y="100"/>
                    </a:lnTo>
                    <a:lnTo>
                      <a:pt x="436" y="108"/>
                    </a:lnTo>
                    <a:lnTo>
                      <a:pt x="443" y="115"/>
                    </a:lnTo>
                    <a:lnTo>
                      <a:pt x="449" y="123"/>
                    </a:lnTo>
                    <a:lnTo>
                      <a:pt x="454" y="131"/>
                    </a:lnTo>
                    <a:lnTo>
                      <a:pt x="459" y="141"/>
                    </a:lnTo>
                    <a:lnTo>
                      <a:pt x="462" y="151"/>
                    </a:lnTo>
                    <a:lnTo>
                      <a:pt x="465" y="160"/>
                    </a:lnTo>
                    <a:lnTo>
                      <a:pt x="466" y="171"/>
                    </a:lnTo>
                    <a:lnTo>
                      <a:pt x="467" y="182"/>
                    </a:lnTo>
                    <a:lnTo>
                      <a:pt x="466" y="192"/>
                    </a:lnTo>
                    <a:lnTo>
                      <a:pt x="465" y="203"/>
                    </a:lnTo>
                    <a:lnTo>
                      <a:pt x="462" y="213"/>
                    </a:lnTo>
                    <a:lnTo>
                      <a:pt x="459" y="223"/>
                    </a:lnTo>
                    <a:lnTo>
                      <a:pt x="454" y="232"/>
                    </a:lnTo>
                    <a:lnTo>
                      <a:pt x="449" y="241"/>
                    </a:lnTo>
                    <a:lnTo>
                      <a:pt x="443" y="248"/>
                    </a:lnTo>
                    <a:lnTo>
                      <a:pt x="436" y="256"/>
                    </a:lnTo>
                    <a:lnTo>
                      <a:pt x="429" y="263"/>
                    </a:lnTo>
                    <a:lnTo>
                      <a:pt x="420" y="269"/>
                    </a:lnTo>
                    <a:lnTo>
                      <a:pt x="412" y="274"/>
                    </a:lnTo>
                    <a:lnTo>
                      <a:pt x="403" y="278"/>
                    </a:lnTo>
                    <a:lnTo>
                      <a:pt x="392" y="283"/>
                    </a:lnTo>
                    <a:lnTo>
                      <a:pt x="383" y="285"/>
                    </a:lnTo>
                    <a:lnTo>
                      <a:pt x="372" y="287"/>
                    </a:lnTo>
                    <a:lnTo>
                      <a:pt x="361" y="287"/>
                    </a:lnTo>
                    <a:lnTo>
                      <a:pt x="361" y="287"/>
                    </a:lnTo>
                    <a:close/>
                    <a:moveTo>
                      <a:pt x="106" y="152"/>
                    </a:moveTo>
                    <a:lnTo>
                      <a:pt x="96" y="151"/>
                    </a:lnTo>
                    <a:lnTo>
                      <a:pt x="88" y="149"/>
                    </a:lnTo>
                    <a:lnTo>
                      <a:pt x="80" y="144"/>
                    </a:lnTo>
                    <a:lnTo>
                      <a:pt x="74" y="139"/>
                    </a:lnTo>
                    <a:lnTo>
                      <a:pt x="68" y="131"/>
                    </a:lnTo>
                    <a:lnTo>
                      <a:pt x="64" y="124"/>
                    </a:lnTo>
                    <a:lnTo>
                      <a:pt x="61" y="115"/>
                    </a:lnTo>
                    <a:lnTo>
                      <a:pt x="61" y="107"/>
                    </a:lnTo>
                    <a:lnTo>
                      <a:pt x="61" y="97"/>
                    </a:lnTo>
                    <a:lnTo>
                      <a:pt x="64" y="88"/>
                    </a:lnTo>
                    <a:lnTo>
                      <a:pt x="68" y="81"/>
                    </a:lnTo>
                    <a:lnTo>
                      <a:pt x="74" y="74"/>
                    </a:lnTo>
                    <a:lnTo>
                      <a:pt x="80" y="69"/>
                    </a:lnTo>
                    <a:lnTo>
                      <a:pt x="88" y="65"/>
                    </a:lnTo>
                    <a:lnTo>
                      <a:pt x="96" y="63"/>
                    </a:lnTo>
                    <a:lnTo>
                      <a:pt x="106" y="62"/>
                    </a:lnTo>
                    <a:lnTo>
                      <a:pt x="114" y="63"/>
                    </a:lnTo>
                    <a:lnTo>
                      <a:pt x="123" y="65"/>
                    </a:lnTo>
                    <a:lnTo>
                      <a:pt x="131" y="69"/>
                    </a:lnTo>
                    <a:lnTo>
                      <a:pt x="137" y="74"/>
                    </a:lnTo>
                    <a:lnTo>
                      <a:pt x="143" y="81"/>
                    </a:lnTo>
                    <a:lnTo>
                      <a:pt x="147" y="88"/>
                    </a:lnTo>
                    <a:lnTo>
                      <a:pt x="150" y="97"/>
                    </a:lnTo>
                    <a:lnTo>
                      <a:pt x="151" y="107"/>
                    </a:lnTo>
                    <a:lnTo>
                      <a:pt x="150" y="115"/>
                    </a:lnTo>
                    <a:lnTo>
                      <a:pt x="148" y="124"/>
                    </a:lnTo>
                    <a:lnTo>
                      <a:pt x="143" y="131"/>
                    </a:lnTo>
                    <a:lnTo>
                      <a:pt x="137" y="139"/>
                    </a:lnTo>
                    <a:lnTo>
                      <a:pt x="131" y="144"/>
                    </a:lnTo>
                    <a:lnTo>
                      <a:pt x="123" y="149"/>
                    </a:lnTo>
                    <a:lnTo>
                      <a:pt x="114" y="151"/>
                    </a:lnTo>
                    <a:lnTo>
                      <a:pt x="106" y="152"/>
                    </a:lnTo>
                    <a:lnTo>
                      <a:pt x="106" y="152"/>
                    </a:lnTo>
                    <a:close/>
                    <a:moveTo>
                      <a:pt x="617" y="242"/>
                    </a:moveTo>
                    <a:lnTo>
                      <a:pt x="626" y="243"/>
                    </a:lnTo>
                    <a:lnTo>
                      <a:pt x="635" y="245"/>
                    </a:lnTo>
                    <a:lnTo>
                      <a:pt x="642" y="249"/>
                    </a:lnTo>
                    <a:lnTo>
                      <a:pt x="650" y="255"/>
                    </a:lnTo>
                    <a:lnTo>
                      <a:pt x="655" y="262"/>
                    </a:lnTo>
                    <a:lnTo>
                      <a:pt x="659" y="270"/>
                    </a:lnTo>
                    <a:lnTo>
                      <a:pt x="661" y="278"/>
                    </a:lnTo>
                    <a:lnTo>
                      <a:pt x="663" y="287"/>
                    </a:lnTo>
                    <a:lnTo>
                      <a:pt x="661" y="297"/>
                    </a:lnTo>
                    <a:lnTo>
                      <a:pt x="659" y="305"/>
                    </a:lnTo>
                    <a:lnTo>
                      <a:pt x="655" y="313"/>
                    </a:lnTo>
                    <a:lnTo>
                      <a:pt x="650" y="319"/>
                    </a:lnTo>
                    <a:lnTo>
                      <a:pt x="642" y="324"/>
                    </a:lnTo>
                    <a:lnTo>
                      <a:pt x="635" y="329"/>
                    </a:lnTo>
                    <a:lnTo>
                      <a:pt x="626" y="331"/>
                    </a:lnTo>
                    <a:lnTo>
                      <a:pt x="617" y="332"/>
                    </a:lnTo>
                    <a:lnTo>
                      <a:pt x="608" y="331"/>
                    </a:lnTo>
                    <a:lnTo>
                      <a:pt x="600" y="329"/>
                    </a:lnTo>
                    <a:lnTo>
                      <a:pt x="592" y="324"/>
                    </a:lnTo>
                    <a:lnTo>
                      <a:pt x="585" y="319"/>
                    </a:lnTo>
                    <a:lnTo>
                      <a:pt x="580" y="313"/>
                    </a:lnTo>
                    <a:lnTo>
                      <a:pt x="576" y="305"/>
                    </a:lnTo>
                    <a:lnTo>
                      <a:pt x="573" y="297"/>
                    </a:lnTo>
                    <a:lnTo>
                      <a:pt x="572" y="287"/>
                    </a:lnTo>
                    <a:lnTo>
                      <a:pt x="573" y="278"/>
                    </a:lnTo>
                    <a:lnTo>
                      <a:pt x="576" y="270"/>
                    </a:lnTo>
                    <a:lnTo>
                      <a:pt x="580" y="262"/>
                    </a:lnTo>
                    <a:lnTo>
                      <a:pt x="585" y="255"/>
                    </a:lnTo>
                    <a:lnTo>
                      <a:pt x="592" y="249"/>
                    </a:lnTo>
                    <a:lnTo>
                      <a:pt x="600" y="245"/>
                    </a:lnTo>
                    <a:lnTo>
                      <a:pt x="608" y="243"/>
                    </a:lnTo>
                    <a:lnTo>
                      <a:pt x="617" y="242"/>
                    </a:lnTo>
                    <a:close/>
                    <a:moveTo>
                      <a:pt x="391" y="392"/>
                    </a:moveTo>
                    <a:lnTo>
                      <a:pt x="663" y="392"/>
                    </a:lnTo>
                    <a:lnTo>
                      <a:pt x="669" y="392"/>
                    </a:lnTo>
                    <a:lnTo>
                      <a:pt x="674" y="391"/>
                    </a:lnTo>
                    <a:lnTo>
                      <a:pt x="681" y="390"/>
                    </a:lnTo>
                    <a:lnTo>
                      <a:pt x="686" y="388"/>
                    </a:lnTo>
                    <a:lnTo>
                      <a:pt x="691" y="386"/>
                    </a:lnTo>
                    <a:lnTo>
                      <a:pt x="697" y="382"/>
                    </a:lnTo>
                    <a:lnTo>
                      <a:pt x="701" y="379"/>
                    </a:lnTo>
                    <a:lnTo>
                      <a:pt x="705" y="375"/>
                    </a:lnTo>
                    <a:lnTo>
                      <a:pt x="709" y="371"/>
                    </a:lnTo>
                    <a:lnTo>
                      <a:pt x="713" y="366"/>
                    </a:lnTo>
                    <a:lnTo>
                      <a:pt x="715" y="361"/>
                    </a:lnTo>
                    <a:lnTo>
                      <a:pt x="718" y="356"/>
                    </a:lnTo>
                    <a:lnTo>
                      <a:pt x="720" y="350"/>
                    </a:lnTo>
                    <a:lnTo>
                      <a:pt x="721" y="345"/>
                    </a:lnTo>
                    <a:lnTo>
                      <a:pt x="723" y="338"/>
                    </a:lnTo>
                    <a:lnTo>
                      <a:pt x="723" y="332"/>
                    </a:lnTo>
                    <a:lnTo>
                      <a:pt x="723" y="62"/>
                    </a:lnTo>
                    <a:lnTo>
                      <a:pt x="723" y="55"/>
                    </a:lnTo>
                    <a:lnTo>
                      <a:pt x="721" y="49"/>
                    </a:lnTo>
                    <a:lnTo>
                      <a:pt x="720" y="43"/>
                    </a:lnTo>
                    <a:lnTo>
                      <a:pt x="718" y="38"/>
                    </a:lnTo>
                    <a:lnTo>
                      <a:pt x="715" y="33"/>
                    </a:lnTo>
                    <a:lnTo>
                      <a:pt x="713" y="27"/>
                    </a:lnTo>
                    <a:lnTo>
                      <a:pt x="709" y="23"/>
                    </a:lnTo>
                    <a:lnTo>
                      <a:pt x="705" y="19"/>
                    </a:lnTo>
                    <a:lnTo>
                      <a:pt x="701" y="14"/>
                    </a:lnTo>
                    <a:lnTo>
                      <a:pt x="697" y="11"/>
                    </a:lnTo>
                    <a:lnTo>
                      <a:pt x="691" y="8"/>
                    </a:lnTo>
                    <a:lnTo>
                      <a:pt x="686" y="6"/>
                    </a:lnTo>
                    <a:lnTo>
                      <a:pt x="681" y="4"/>
                    </a:lnTo>
                    <a:lnTo>
                      <a:pt x="674" y="3"/>
                    </a:lnTo>
                    <a:lnTo>
                      <a:pt x="669" y="2"/>
                    </a:lnTo>
                    <a:lnTo>
                      <a:pt x="663" y="2"/>
                    </a:lnTo>
                    <a:lnTo>
                      <a:pt x="61" y="0"/>
                    </a:lnTo>
                    <a:lnTo>
                      <a:pt x="54" y="2"/>
                    </a:lnTo>
                    <a:lnTo>
                      <a:pt x="48" y="3"/>
                    </a:lnTo>
                    <a:lnTo>
                      <a:pt x="43" y="4"/>
                    </a:lnTo>
                    <a:lnTo>
                      <a:pt x="37" y="6"/>
                    </a:lnTo>
                    <a:lnTo>
                      <a:pt x="32" y="8"/>
                    </a:lnTo>
                    <a:lnTo>
                      <a:pt x="27" y="11"/>
                    </a:lnTo>
                    <a:lnTo>
                      <a:pt x="22" y="14"/>
                    </a:lnTo>
                    <a:lnTo>
                      <a:pt x="18" y="19"/>
                    </a:lnTo>
                    <a:lnTo>
                      <a:pt x="14" y="23"/>
                    </a:lnTo>
                    <a:lnTo>
                      <a:pt x="10" y="27"/>
                    </a:lnTo>
                    <a:lnTo>
                      <a:pt x="7" y="33"/>
                    </a:lnTo>
                    <a:lnTo>
                      <a:pt x="5" y="38"/>
                    </a:lnTo>
                    <a:lnTo>
                      <a:pt x="3" y="43"/>
                    </a:lnTo>
                    <a:lnTo>
                      <a:pt x="2" y="49"/>
                    </a:lnTo>
                    <a:lnTo>
                      <a:pt x="1" y="55"/>
                    </a:lnTo>
                    <a:lnTo>
                      <a:pt x="0" y="62"/>
                    </a:lnTo>
                    <a:lnTo>
                      <a:pt x="0" y="304"/>
                    </a:lnTo>
                    <a:lnTo>
                      <a:pt x="22" y="299"/>
                    </a:lnTo>
                    <a:lnTo>
                      <a:pt x="46" y="294"/>
                    </a:lnTo>
                    <a:lnTo>
                      <a:pt x="68" y="291"/>
                    </a:lnTo>
                    <a:lnTo>
                      <a:pt x="90" y="290"/>
                    </a:lnTo>
                    <a:lnTo>
                      <a:pt x="126" y="288"/>
                    </a:lnTo>
                    <a:lnTo>
                      <a:pt x="151" y="287"/>
                    </a:lnTo>
                    <a:lnTo>
                      <a:pt x="172" y="288"/>
                    </a:lnTo>
                    <a:lnTo>
                      <a:pt x="206" y="289"/>
                    </a:lnTo>
                    <a:lnTo>
                      <a:pt x="225" y="291"/>
                    </a:lnTo>
                    <a:lnTo>
                      <a:pt x="244" y="293"/>
                    </a:lnTo>
                    <a:lnTo>
                      <a:pt x="266" y="297"/>
                    </a:lnTo>
                    <a:lnTo>
                      <a:pt x="286" y="300"/>
                    </a:lnTo>
                    <a:lnTo>
                      <a:pt x="306" y="305"/>
                    </a:lnTo>
                    <a:lnTo>
                      <a:pt x="326" y="312"/>
                    </a:lnTo>
                    <a:lnTo>
                      <a:pt x="344" y="318"/>
                    </a:lnTo>
                    <a:lnTo>
                      <a:pt x="360" y="327"/>
                    </a:lnTo>
                    <a:lnTo>
                      <a:pt x="366" y="332"/>
                    </a:lnTo>
                    <a:lnTo>
                      <a:pt x="373" y="337"/>
                    </a:lnTo>
                    <a:lnTo>
                      <a:pt x="378" y="343"/>
                    </a:lnTo>
                    <a:lnTo>
                      <a:pt x="383" y="349"/>
                    </a:lnTo>
                    <a:lnTo>
                      <a:pt x="387" y="356"/>
                    </a:lnTo>
                    <a:lnTo>
                      <a:pt x="389" y="362"/>
                    </a:lnTo>
                    <a:lnTo>
                      <a:pt x="391" y="369"/>
                    </a:lnTo>
                    <a:lnTo>
                      <a:pt x="391" y="377"/>
                    </a:lnTo>
                    <a:lnTo>
                      <a:pt x="391" y="39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499">
                <a:extLst>
                  <a:ext uri="{FF2B5EF4-FFF2-40B4-BE49-F238E27FC236}">
                    <a16:creationId xmlns:a16="http://schemas.microsoft.com/office/drawing/2014/main" id="{349B3320-9A6B-491F-B2F5-92DC13F27D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6025" y="1598613"/>
                <a:ext cx="133350" cy="33338"/>
              </a:xfrm>
              <a:custGeom>
                <a:avLst/>
                <a:gdLst>
                  <a:gd name="T0" fmla="*/ 0 w 421"/>
                  <a:gd name="T1" fmla="*/ 44 h 104"/>
                  <a:gd name="T2" fmla="*/ 2 w 421"/>
                  <a:gd name="T3" fmla="*/ 52 h 104"/>
                  <a:gd name="T4" fmla="*/ 5 w 421"/>
                  <a:gd name="T5" fmla="*/ 56 h 104"/>
                  <a:gd name="T6" fmla="*/ 6 w 421"/>
                  <a:gd name="T7" fmla="*/ 59 h 104"/>
                  <a:gd name="T8" fmla="*/ 11 w 421"/>
                  <a:gd name="T9" fmla="*/ 65 h 104"/>
                  <a:gd name="T10" fmla="*/ 13 w 421"/>
                  <a:gd name="T11" fmla="*/ 65 h 104"/>
                  <a:gd name="T12" fmla="*/ 31 w 421"/>
                  <a:gd name="T13" fmla="*/ 76 h 104"/>
                  <a:gd name="T14" fmla="*/ 32 w 421"/>
                  <a:gd name="T15" fmla="*/ 77 h 104"/>
                  <a:gd name="T16" fmla="*/ 41 w 421"/>
                  <a:gd name="T17" fmla="*/ 80 h 104"/>
                  <a:gd name="T18" fmla="*/ 45 w 421"/>
                  <a:gd name="T19" fmla="*/ 81 h 104"/>
                  <a:gd name="T20" fmla="*/ 53 w 421"/>
                  <a:gd name="T21" fmla="*/ 84 h 104"/>
                  <a:gd name="T22" fmla="*/ 61 w 421"/>
                  <a:gd name="T23" fmla="*/ 86 h 104"/>
                  <a:gd name="T24" fmla="*/ 66 w 421"/>
                  <a:gd name="T25" fmla="*/ 87 h 104"/>
                  <a:gd name="T26" fmla="*/ 98 w 421"/>
                  <a:gd name="T27" fmla="*/ 95 h 104"/>
                  <a:gd name="T28" fmla="*/ 133 w 421"/>
                  <a:gd name="T29" fmla="*/ 99 h 104"/>
                  <a:gd name="T30" fmla="*/ 197 w 421"/>
                  <a:gd name="T31" fmla="*/ 104 h 104"/>
                  <a:gd name="T32" fmla="*/ 211 w 421"/>
                  <a:gd name="T33" fmla="*/ 104 h 104"/>
                  <a:gd name="T34" fmla="*/ 225 w 421"/>
                  <a:gd name="T35" fmla="*/ 104 h 104"/>
                  <a:gd name="T36" fmla="*/ 289 w 421"/>
                  <a:gd name="T37" fmla="*/ 99 h 104"/>
                  <a:gd name="T38" fmla="*/ 322 w 421"/>
                  <a:gd name="T39" fmla="*/ 95 h 104"/>
                  <a:gd name="T40" fmla="*/ 356 w 421"/>
                  <a:gd name="T41" fmla="*/ 87 h 104"/>
                  <a:gd name="T42" fmla="*/ 360 w 421"/>
                  <a:gd name="T43" fmla="*/ 86 h 104"/>
                  <a:gd name="T44" fmla="*/ 368 w 421"/>
                  <a:gd name="T45" fmla="*/ 84 h 104"/>
                  <a:gd name="T46" fmla="*/ 376 w 421"/>
                  <a:gd name="T47" fmla="*/ 81 h 104"/>
                  <a:gd name="T48" fmla="*/ 379 w 421"/>
                  <a:gd name="T49" fmla="*/ 80 h 104"/>
                  <a:gd name="T50" fmla="*/ 390 w 421"/>
                  <a:gd name="T51" fmla="*/ 77 h 104"/>
                  <a:gd name="T52" fmla="*/ 391 w 421"/>
                  <a:gd name="T53" fmla="*/ 76 h 104"/>
                  <a:gd name="T54" fmla="*/ 409 w 421"/>
                  <a:gd name="T55" fmla="*/ 65 h 104"/>
                  <a:gd name="T56" fmla="*/ 409 w 421"/>
                  <a:gd name="T57" fmla="*/ 65 h 104"/>
                  <a:gd name="T58" fmla="*/ 416 w 421"/>
                  <a:gd name="T59" fmla="*/ 59 h 104"/>
                  <a:gd name="T60" fmla="*/ 417 w 421"/>
                  <a:gd name="T61" fmla="*/ 56 h 104"/>
                  <a:gd name="T62" fmla="*/ 420 w 421"/>
                  <a:gd name="T63" fmla="*/ 52 h 104"/>
                  <a:gd name="T64" fmla="*/ 421 w 421"/>
                  <a:gd name="T65" fmla="*/ 44 h 104"/>
                  <a:gd name="T66" fmla="*/ 410 w 421"/>
                  <a:gd name="T67" fmla="*/ 4 h 104"/>
                  <a:gd name="T68" fmla="*/ 386 w 421"/>
                  <a:gd name="T69" fmla="*/ 10 h 104"/>
                  <a:gd name="T70" fmla="*/ 344 w 421"/>
                  <a:gd name="T71" fmla="*/ 19 h 104"/>
                  <a:gd name="T72" fmla="*/ 284 w 421"/>
                  <a:gd name="T73" fmla="*/ 25 h 104"/>
                  <a:gd name="T74" fmla="*/ 231 w 421"/>
                  <a:gd name="T75" fmla="*/ 28 h 104"/>
                  <a:gd name="T76" fmla="*/ 191 w 421"/>
                  <a:gd name="T77" fmla="*/ 28 h 104"/>
                  <a:gd name="T78" fmla="*/ 138 w 421"/>
                  <a:gd name="T79" fmla="*/ 25 h 104"/>
                  <a:gd name="T80" fmla="*/ 78 w 421"/>
                  <a:gd name="T81" fmla="*/ 19 h 104"/>
                  <a:gd name="T82" fmla="*/ 35 w 421"/>
                  <a:gd name="T83" fmla="*/ 10 h 104"/>
                  <a:gd name="T84" fmla="*/ 10 w 421"/>
                  <a:gd name="T85" fmla="*/ 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421" h="104">
                    <a:moveTo>
                      <a:pt x="0" y="0"/>
                    </a:moveTo>
                    <a:lnTo>
                      <a:pt x="0" y="44"/>
                    </a:lnTo>
                    <a:lnTo>
                      <a:pt x="1" y="48"/>
                    </a:lnTo>
                    <a:lnTo>
                      <a:pt x="2" y="52"/>
                    </a:lnTo>
                    <a:lnTo>
                      <a:pt x="3" y="54"/>
                    </a:lnTo>
                    <a:lnTo>
                      <a:pt x="5" y="56"/>
                    </a:lnTo>
                    <a:lnTo>
                      <a:pt x="5" y="57"/>
                    </a:lnTo>
                    <a:lnTo>
                      <a:pt x="6" y="59"/>
                    </a:lnTo>
                    <a:lnTo>
                      <a:pt x="8" y="62"/>
                    </a:lnTo>
                    <a:lnTo>
                      <a:pt x="11" y="65"/>
                    </a:lnTo>
                    <a:lnTo>
                      <a:pt x="11" y="65"/>
                    </a:lnTo>
                    <a:lnTo>
                      <a:pt x="13" y="65"/>
                    </a:lnTo>
                    <a:lnTo>
                      <a:pt x="20" y="70"/>
                    </a:lnTo>
                    <a:lnTo>
                      <a:pt x="31" y="76"/>
                    </a:lnTo>
                    <a:lnTo>
                      <a:pt x="31" y="76"/>
                    </a:lnTo>
                    <a:lnTo>
                      <a:pt x="32" y="77"/>
                    </a:lnTo>
                    <a:lnTo>
                      <a:pt x="36" y="79"/>
                    </a:lnTo>
                    <a:lnTo>
                      <a:pt x="41" y="80"/>
                    </a:lnTo>
                    <a:lnTo>
                      <a:pt x="44" y="81"/>
                    </a:lnTo>
                    <a:lnTo>
                      <a:pt x="45" y="81"/>
                    </a:lnTo>
                    <a:lnTo>
                      <a:pt x="49" y="83"/>
                    </a:lnTo>
                    <a:lnTo>
                      <a:pt x="53" y="84"/>
                    </a:lnTo>
                    <a:lnTo>
                      <a:pt x="58" y="85"/>
                    </a:lnTo>
                    <a:lnTo>
                      <a:pt x="61" y="86"/>
                    </a:lnTo>
                    <a:lnTo>
                      <a:pt x="64" y="87"/>
                    </a:lnTo>
                    <a:lnTo>
                      <a:pt x="66" y="87"/>
                    </a:lnTo>
                    <a:lnTo>
                      <a:pt x="82" y="92"/>
                    </a:lnTo>
                    <a:lnTo>
                      <a:pt x="98" y="95"/>
                    </a:lnTo>
                    <a:lnTo>
                      <a:pt x="115" y="97"/>
                    </a:lnTo>
                    <a:lnTo>
                      <a:pt x="133" y="99"/>
                    </a:lnTo>
                    <a:lnTo>
                      <a:pt x="166" y="102"/>
                    </a:lnTo>
                    <a:lnTo>
                      <a:pt x="197" y="104"/>
                    </a:lnTo>
                    <a:lnTo>
                      <a:pt x="203" y="104"/>
                    </a:lnTo>
                    <a:lnTo>
                      <a:pt x="211" y="104"/>
                    </a:lnTo>
                    <a:lnTo>
                      <a:pt x="217" y="104"/>
                    </a:lnTo>
                    <a:lnTo>
                      <a:pt x="225" y="104"/>
                    </a:lnTo>
                    <a:lnTo>
                      <a:pt x="255" y="102"/>
                    </a:lnTo>
                    <a:lnTo>
                      <a:pt x="289" y="99"/>
                    </a:lnTo>
                    <a:lnTo>
                      <a:pt x="306" y="97"/>
                    </a:lnTo>
                    <a:lnTo>
                      <a:pt x="322" y="95"/>
                    </a:lnTo>
                    <a:lnTo>
                      <a:pt x="340" y="92"/>
                    </a:lnTo>
                    <a:lnTo>
                      <a:pt x="356" y="87"/>
                    </a:lnTo>
                    <a:lnTo>
                      <a:pt x="358" y="87"/>
                    </a:lnTo>
                    <a:lnTo>
                      <a:pt x="360" y="86"/>
                    </a:lnTo>
                    <a:lnTo>
                      <a:pt x="364" y="85"/>
                    </a:lnTo>
                    <a:lnTo>
                      <a:pt x="368" y="84"/>
                    </a:lnTo>
                    <a:lnTo>
                      <a:pt x="372" y="83"/>
                    </a:lnTo>
                    <a:lnTo>
                      <a:pt x="376" y="81"/>
                    </a:lnTo>
                    <a:lnTo>
                      <a:pt x="378" y="81"/>
                    </a:lnTo>
                    <a:lnTo>
                      <a:pt x="379" y="80"/>
                    </a:lnTo>
                    <a:lnTo>
                      <a:pt x="385" y="79"/>
                    </a:lnTo>
                    <a:lnTo>
                      <a:pt x="390" y="77"/>
                    </a:lnTo>
                    <a:lnTo>
                      <a:pt x="390" y="76"/>
                    </a:lnTo>
                    <a:lnTo>
                      <a:pt x="391" y="76"/>
                    </a:lnTo>
                    <a:lnTo>
                      <a:pt x="401" y="70"/>
                    </a:lnTo>
                    <a:lnTo>
                      <a:pt x="409" y="65"/>
                    </a:lnTo>
                    <a:lnTo>
                      <a:pt x="409" y="65"/>
                    </a:lnTo>
                    <a:lnTo>
                      <a:pt x="409" y="65"/>
                    </a:lnTo>
                    <a:lnTo>
                      <a:pt x="413" y="62"/>
                    </a:lnTo>
                    <a:lnTo>
                      <a:pt x="416" y="59"/>
                    </a:lnTo>
                    <a:lnTo>
                      <a:pt x="417" y="57"/>
                    </a:lnTo>
                    <a:lnTo>
                      <a:pt x="417" y="56"/>
                    </a:lnTo>
                    <a:lnTo>
                      <a:pt x="419" y="54"/>
                    </a:lnTo>
                    <a:lnTo>
                      <a:pt x="420" y="52"/>
                    </a:lnTo>
                    <a:lnTo>
                      <a:pt x="421" y="48"/>
                    </a:lnTo>
                    <a:lnTo>
                      <a:pt x="421" y="44"/>
                    </a:lnTo>
                    <a:lnTo>
                      <a:pt x="421" y="0"/>
                    </a:lnTo>
                    <a:lnTo>
                      <a:pt x="410" y="4"/>
                    </a:lnTo>
                    <a:lnTo>
                      <a:pt x="399" y="7"/>
                    </a:lnTo>
                    <a:lnTo>
                      <a:pt x="386" y="10"/>
                    </a:lnTo>
                    <a:lnTo>
                      <a:pt x="373" y="13"/>
                    </a:lnTo>
                    <a:lnTo>
                      <a:pt x="344" y="19"/>
                    </a:lnTo>
                    <a:lnTo>
                      <a:pt x="314" y="23"/>
                    </a:lnTo>
                    <a:lnTo>
                      <a:pt x="284" y="25"/>
                    </a:lnTo>
                    <a:lnTo>
                      <a:pt x="256" y="27"/>
                    </a:lnTo>
                    <a:lnTo>
                      <a:pt x="231" y="28"/>
                    </a:lnTo>
                    <a:lnTo>
                      <a:pt x="211" y="28"/>
                    </a:lnTo>
                    <a:lnTo>
                      <a:pt x="191" y="28"/>
                    </a:lnTo>
                    <a:lnTo>
                      <a:pt x="166" y="27"/>
                    </a:lnTo>
                    <a:lnTo>
                      <a:pt x="138" y="25"/>
                    </a:lnTo>
                    <a:lnTo>
                      <a:pt x="108" y="23"/>
                    </a:lnTo>
                    <a:lnTo>
                      <a:pt x="78" y="19"/>
                    </a:lnTo>
                    <a:lnTo>
                      <a:pt x="49" y="13"/>
                    </a:lnTo>
                    <a:lnTo>
                      <a:pt x="35" y="10"/>
                    </a:lnTo>
                    <a:lnTo>
                      <a:pt x="22" y="7"/>
                    </a:lnTo>
                    <a:lnTo>
                      <a:pt x="10" y="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500">
                <a:extLst>
                  <a:ext uri="{FF2B5EF4-FFF2-40B4-BE49-F238E27FC236}">
                    <a16:creationId xmlns:a16="http://schemas.microsoft.com/office/drawing/2014/main" id="{F5A7688A-663B-47AF-A81F-AD3EFD0617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6025" y="1474788"/>
                <a:ext cx="133350" cy="28575"/>
              </a:xfrm>
              <a:custGeom>
                <a:avLst/>
                <a:gdLst>
                  <a:gd name="T0" fmla="*/ 420 w 420"/>
                  <a:gd name="T1" fmla="*/ 58 h 90"/>
                  <a:gd name="T2" fmla="*/ 419 w 420"/>
                  <a:gd name="T3" fmla="*/ 55 h 90"/>
                  <a:gd name="T4" fmla="*/ 418 w 420"/>
                  <a:gd name="T5" fmla="*/ 50 h 90"/>
                  <a:gd name="T6" fmla="*/ 416 w 420"/>
                  <a:gd name="T7" fmla="*/ 47 h 90"/>
                  <a:gd name="T8" fmla="*/ 413 w 420"/>
                  <a:gd name="T9" fmla="*/ 44 h 90"/>
                  <a:gd name="T10" fmla="*/ 406 w 420"/>
                  <a:gd name="T11" fmla="*/ 37 h 90"/>
                  <a:gd name="T12" fmla="*/ 397 w 420"/>
                  <a:gd name="T13" fmla="*/ 32 h 90"/>
                  <a:gd name="T14" fmla="*/ 386 w 420"/>
                  <a:gd name="T15" fmla="*/ 27 h 90"/>
                  <a:gd name="T16" fmla="*/ 374 w 420"/>
                  <a:gd name="T17" fmla="*/ 22 h 90"/>
                  <a:gd name="T18" fmla="*/ 360 w 420"/>
                  <a:gd name="T19" fmla="*/ 18 h 90"/>
                  <a:gd name="T20" fmla="*/ 345 w 420"/>
                  <a:gd name="T21" fmla="*/ 14 h 90"/>
                  <a:gd name="T22" fmla="*/ 313 w 420"/>
                  <a:gd name="T23" fmla="*/ 9 h 90"/>
                  <a:gd name="T24" fmla="*/ 277 w 420"/>
                  <a:gd name="T25" fmla="*/ 3 h 90"/>
                  <a:gd name="T26" fmla="*/ 243 w 420"/>
                  <a:gd name="T27" fmla="*/ 1 h 90"/>
                  <a:gd name="T28" fmla="*/ 210 w 420"/>
                  <a:gd name="T29" fmla="*/ 0 h 90"/>
                  <a:gd name="T30" fmla="*/ 172 w 420"/>
                  <a:gd name="T31" fmla="*/ 1 h 90"/>
                  <a:gd name="T32" fmla="*/ 133 w 420"/>
                  <a:gd name="T33" fmla="*/ 4 h 90"/>
                  <a:gd name="T34" fmla="*/ 113 w 420"/>
                  <a:gd name="T35" fmla="*/ 7 h 90"/>
                  <a:gd name="T36" fmla="*/ 94 w 420"/>
                  <a:gd name="T37" fmla="*/ 11 h 90"/>
                  <a:gd name="T38" fmla="*/ 76 w 420"/>
                  <a:gd name="T39" fmla="*/ 14 h 90"/>
                  <a:gd name="T40" fmla="*/ 59 w 420"/>
                  <a:gd name="T41" fmla="*/ 18 h 90"/>
                  <a:gd name="T42" fmla="*/ 59 w 420"/>
                  <a:gd name="T43" fmla="*/ 18 h 90"/>
                  <a:gd name="T44" fmla="*/ 55 w 420"/>
                  <a:gd name="T45" fmla="*/ 19 h 90"/>
                  <a:gd name="T46" fmla="*/ 52 w 420"/>
                  <a:gd name="T47" fmla="*/ 20 h 90"/>
                  <a:gd name="T48" fmla="*/ 48 w 420"/>
                  <a:gd name="T49" fmla="*/ 21 h 90"/>
                  <a:gd name="T50" fmla="*/ 44 w 420"/>
                  <a:gd name="T51" fmla="*/ 22 h 90"/>
                  <a:gd name="T52" fmla="*/ 43 w 420"/>
                  <a:gd name="T53" fmla="*/ 24 h 90"/>
                  <a:gd name="T54" fmla="*/ 40 w 420"/>
                  <a:gd name="T55" fmla="*/ 24 h 90"/>
                  <a:gd name="T56" fmla="*/ 35 w 420"/>
                  <a:gd name="T57" fmla="*/ 26 h 90"/>
                  <a:gd name="T58" fmla="*/ 31 w 420"/>
                  <a:gd name="T59" fmla="*/ 28 h 90"/>
                  <a:gd name="T60" fmla="*/ 30 w 420"/>
                  <a:gd name="T61" fmla="*/ 28 h 90"/>
                  <a:gd name="T62" fmla="*/ 30 w 420"/>
                  <a:gd name="T63" fmla="*/ 28 h 90"/>
                  <a:gd name="T64" fmla="*/ 19 w 420"/>
                  <a:gd name="T65" fmla="*/ 33 h 90"/>
                  <a:gd name="T66" fmla="*/ 12 w 420"/>
                  <a:gd name="T67" fmla="*/ 40 h 90"/>
                  <a:gd name="T68" fmla="*/ 10 w 420"/>
                  <a:gd name="T69" fmla="*/ 40 h 90"/>
                  <a:gd name="T70" fmla="*/ 10 w 420"/>
                  <a:gd name="T71" fmla="*/ 40 h 90"/>
                  <a:gd name="T72" fmla="*/ 7 w 420"/>
                  <a:gd name="T73" fmla="*/ 43 h 90"/>
                  <a:gd name="T74" fmla="*/ 5 w 420"/>
                  <a:gd name="T75" fmla="*/ 46 h 90"/>
                  <a:gd name="T76" fmla="*/ 4 w 420"/>
                  <a:gd name="T77" fmla="*/ 47 h 90"/>
                  <a:gd name="T78" fmla="*/ 4 w 420"/>
                  <a:gd name="T79" fmla="*/ 48 h 90"/>
                  <a:gd name="T80" fmla="*/ 2 w 420"/>
                  <a:gd name="T81" fmla="*/ 50 h 90"/>
                  <a:gd name="T82" fmla="*/ 1 w 420"/>
                  <a:gd name="T83" fmla="*/ 52 h 90"/>
                  <a:gd name="T84" fmla="*/ 0 w 420"/>
                  <a:gd name="T85" fmla="*/ 56 h 90"/>
                  <a:gd name="T86" fmla="*/ 0 w 420"/>
                  <a:gd name="T87" fmla="*/ 58 h 90"/>
                  <a:gd name="T88" fmla="*/ 8 w 420"/>
                  <a:gd name="T89" fmla="*/ 63 h 90"/>
                  <a:gd name="T90" fmla="*/ 22 w 420"/>
                  <a:gd name="T91" fmla="*/ 68 h 90"/>
                  <a:gd name="T92" fmla="*/ 43 w 420"/>
                  <a:gd name="T93" fmla="*/ 74 h 90"/>
                  <a:gd name="T94" fmla="*/ 67 w 420"/>
                  <a:gd name="T95" fmla="*/ 78 h 90"/>
                  <a:gd name="T96" fmla="*/ 96 w 420"/>
                  <a:gd name="T97" fmla="*/ 84 h 90"/>
                  <a:gd name="T98" fmla="*/ 131 w 420"/>
                  <a:gd name="T99" fmla="*/ 87 h 90"/>
                  <a:gd name="T100" fmla="*/ 168 w 420"/>
                  <a:gd name="T101" fmla="*/ 90 h 90"/>
                  <a:gd name="T102" fmla="*/ 210 w 420"/>
                  <a:gd name="T103" fmla="*/ 90 h 90"/>
                  <a:gd name="T104" fmla="*/ 251 w 420"/>
                  <a:gd name="T105" fmla="*/ 90 h 90"/>
                  <a:gd name="T106" fmla="*/ 289 w 420"/>
                  <a:gd name="T107" fmla="*/ 87 h 90"/>
                  <a:gd name="T108" fmla="*/ 323 w 420"/>
                  <a:gd name="T109" fmla="*/ 84 h 90"/>
                  <a:gd name="T110" fmla="*/ 353 w 420"/>
                  <a:gd name="T111" fmla="*/ 78 h 90"/>
                  <a:gd name="T112" fmla="*/ 377 w 420"/>
                  <a:gd name="T113" fmla="*/ 74 h 90"/>
                  <a:gd name="T114" fmla="*/ 398 w 420"/>
                  <a:gd name="T115" fmla="*/ 68 h 90"/>
                  <a:gd name="T116" fmla="*/ 412 w 420"/>
                  <a:gd name="T117" fmla="*/ 62 h 90"/>
                  <a:gd name="T118" fmla="*/ 420 w 420"/>
                  <a:gd name="T119" fmla="*/ 58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420" h="90">
                    <a:moveTo>
                      <a:pt x="420" y="58"/>
                    </a:moveTo>
                    <a:lnTo>
                      <a:pt x="419" y="55"/>
                    </a:lnTo>
                    <a:lnTo>
                      <a:pt x="418" y="50"/>
                    </a:lnTo>
                    <a:lnTo>
                      <a:pt x="416" y="47"/>
                    </a:lnTo>
                    <a:lnTo>
                      <a:pt x="413" y="44"/>
                    </a:lnTo>
                    <a:lnTo>
                      <a:pt x="406" y="37"/>
                    </a:lnTo>
                    <a:lnTo>
                      <a:pt x="397" y="32"/>
                    </a:lnTo>
                    <a:lnTo>
                      <a:pt x="386" y="27"/>
                    </a:lnTo>
                    <a:lnTo>
                      <a:pt x="374" y="22"/>
                    </a:lnTo>
                    <a:lnTo>
                      <a:pt x="360" y="18"/>
                    </a:lnTo>
                    <a:lnTo>
                      <a:pt x="345" y="14"/>
                    </a:lnTo>
                    <a:lnTo>
                      <a:pt x="313" y="9"/>
                    </a:lnTo>
                    <a:lnTo>
                      <a:pt x="277" y="3"/>
                    </a:lnTo>
                    <a:lnTo>
                      <a:pt x="243" y="1"/>
                    </a:lnTo>
                    <a:lnTo>
                      <a:pt x="210" y="0"/>
                    </a:lnTo>
                    <a:lnTo>
                      <a:pt x="172" y="1"/>
                    </a:lnTo>
                    <a:lnTo>
                      <a:pt x="133" y="4"/>
                    </a:lnTo>
                    <a:lnTo>
                      <a:pt x="113" y="7"/>
                    </a:lnTo>
                    <a:lnTo>
                      <a:pt x="94" y="11"/>
                    </a:lnTo>
                    <a:lnTo>
                      <a:pt x="76" y="14"/>
                    </a:lnTo>
                    <a:lnTo>
                      <a:pt x="59" y="18"/>
                    </a:lnTo>
                    <a:lnTo>
                      <a:pt x="59" y="18"/>
                    </a:lnTo>
                    <a:lnTo>
                      <a:pt x="55" y="19"/>
                    </a:lnTo>
                    <a:lnTo>
                      <a:pt x="52" y="20"/>
                    </a:lnTo>
                    <a:lnTo>
                      <a:pt x="48" y="21"/>
                    </a:lnTo>
                    <a:lnTo>
                      <a:pt x="44" y="22"/>
                    </a:lnTo>
                    <a:lnTo>
                      <a:pt x="43" y="24"/>
                    </a:lnTo>
                    <a:lnTo>
                      <a:pt x="40" y="24"/>
                    </a:lnTo>
                    <a:lnTo>
                      <a:pt x="35" y="26"/>
                    </a:lnTo>
                    <a:lnTo>
                      <a:pt x="31" y="28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19" y="33"/>
                    </a:lnTo>
                    <a:lnTo>
                      <a:pt x="12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7" y="43"/>
                    </a:lnTo>
                    <a:lnTo>
                      <a:pt x="5" y="46"/>
                    </a:lnTo>
                    <a:lnTo>
                      <a:pt x="4" y="47"/>
                    </a:lnTo>
                    <a:lnTo>
                      <a:pt x="4" y="48"/>
                    </a:lnTo>
                    <a:lnTo>
                      <a:pt x="2" y="50"/>
                    </a:lnTo>
                    <a:lnTo>
                      <a:pt x="1" y="52"/>
                    </a:lnTo>
                    <a:lnTo>
                      <a:pt x="0" y="56"/>
                    </a:lnTo>
                    <a:lnTo>
                      <a:pt x="0" y="58"/>
                    </a:lnTo>
                    <a:lnTo>
                      <a:pt x="8" y="63"/>
                    </a:lnTo>
                    <a:lnTo>
                      <a:pt x="22" y="68"/>
                    </a:lnTo>
                    <a:lnTo>
                      <a:pt x="43" y="74"/>
                    </a:lnTo>
                    <a:lnTo>
                      <a:pt x="67" y="78"/>
                    </a:lnTo>
                    <a:lnTo>
                      <a:pt x="96" y="84"/>
                    </a:lnTo>
                    <a:lnTo>
                      <a:pt x="131" y="87"/>
                    </a:lnTo>
                    <a:lnTo>
                      <a:pt x="168" y="90"/>
                    </a:lnTo>
                    <a:lnTo>
                      <a:pt x="210" y="90"/>
                    </a:lnTo>
                    <a:lnTo>
                      <a:pt x="251" y="90"/>
                    </a:lnTo>
                    <a:lnTo>
                      <a:pt x="289" y="87"/>
                    </a:lnTo>
                    <a:lnTo>
                      <a:pt x="323" y="84"/>
                    </a:lnTo>
                    <a:lnTo>
                      <a:pt x="353" y="78"/>
                    </a:lnTo>
                    <a:lnTo>
                      <a:pt x="377" y="74"/>
                    </a:lnTo>
                    <a:lnTo>
                      <a:pt x="398" y="68"/>
                    </a:lnTo>
                    <a:lnTo>
                      <a:pt x="412" y="62"/>
                    </a:lnTo>
                    <a:lnTo>
                      <a:pt x="420" y="5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501">
                <a:extLst>
                  <a:ext uri="{FF2B5EF4-FFF2-40B4-BE49-F238E27FC236}">
                    <a16:creationId xmlns:a16="http://schemas.microsoft.com/office/drawing/2014/main" id="{5442C42B-E601-49F1-A691-00A079C2C3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6025" y="1503363"/>
                <a:ext cx="133350" cy="23813"/>
              </a:xfrm>
              <a:custGeom>
                <a:avLst/>
                <a:gdLst>
                  <a:gd name="T0" fmla="*/ 0 w 421"/>
                  <a:gd name="T1" fmla="*/ 0 h 75"/>
                  <a:gd name="T2" fmla="*/ 0 w 421"/>
                  <a:gd name="T3" fmla="*/ 42 h 75"/>
                  <a:gd name="T4" fmla="*/ 8 w 421"/>
                  <a:gd name="T5" fmla="*/ 46 h 75"/>
                  <a:gd name="T6" fmla="*/ 22 w 421"/>
                  <a:gd name="T7" fmla="*/ 52 h 75"/>
                  <a:gd name="T8" fmla="*/ 43 w 421"/>
                  <a:gd name="T9" fmla="*/ 57 h 75"/>
                  <a:gd name="T10" fmla="*/ 67 w 421"/>
                  <a:gd name="T11" fmla="*/ 62 h 75"/>
                  <a:gd name="T12" fmla="*/ 97 w 421"/>
                  <a:gd name="T13" fmla="*/ 68 h 75"/>
                  <a:gd name="T14" fmla="*/ 130 w 421"/>
                  <a:gd name="T15" fmla="*/ 71 h 75"/>
                  <a:gd name="T16" fmla="*/ 169 w 421"/>
                  <a:gd name="T17" fmla="*/ 74 h 75"/>
                  <a:gd name="T18" fmla="*/ 211 w 421"/>
                  <a:gd name="T19" fmla="*/ 75 h 75"/>
                  <a:gd name="T20" fmla="*/ 253 w 421"/>
                  <a:gd name="T21" fmla="*/ 74 h 75"/>
                  <a:gd name="T22" fmla="*/ 290 w 421"/>
                  <a:gd name="T23" fmla="*/ 71 h 75"/>
                  <a:gd name="T24" fmla="*/ 325 w 421"/>
                  <a:gd name="T25" fmla="*/ 68 h 75"/>
                  <a:gd name="T26" fmla="*/ 355 w 421"/>
                  <a:gd name="T27" fmla="*/ 62 h 75"/>
                  <a:gd name="T28" fmla="*/ 379 w 421"/>
                  <a:gd name="T29" fmla="*/ 57 h 75"/>
                  <a:gd name="T30" fmla="*/ 399 w 421"/>
                  <a:gd name="T31" fmla="*/ 52 h 75"/>
                  <a:gd name="T32" fmla="*/ 414 w 421"/>
                  <a:gd name="T33" fmla="*/ 46 h 75"/>
                  <a:gd name="T34" fmla="*/ 421 w 421"/>
                  <a:gd name="T35" fmla="*/ 42 h 75"/>
                  <a:gd name="T36" fmla="*/ 421 w 421"/>
                  <a:gd name="T37" fmla="*/ 0 h 75"/>
                  <a:gd name="T38" fmla="*/ 410 w 421"/>
                  <a:gd name="T39" fmla="*/ 4 h 75"/>
                  <a:gd name="T40" fmla="*/ 399 w 421"/>
                  <a:gd name="T41" fmla="*/ 8 h 75"/>
                  <a:gd name="T42" fmla="*/ 386 w 421"/>
                  <a:gd name="T43" fmla="*/ 12 h 75"/>
                  <a:gd name="T44" fmla="*/ 373 w 421"/>
                  <a:gd name="T45" fmla="*/ 14 h 75"/>
                  <a:gd name="T46" fmla="*/ 344 w 421"/>
                  <a:gd name="T47" fmla="*/ 19 h 75"/>
                  <a:gd name="T48" fmla="*/ 314 w 421"/>
                  <a:gd name="T49" fmla="*/ 24 h 75"/>
                  <a:gd name="T50" fmla="*/ 284 w 421"/>
                  <a:gd name="T51" fmla="*/ 27 h 75"/>
                  <a:gd name="T52" fmla="*/ 256 w 421"/>
                  <a:gd name="T53" fmla="*/ 28 h 75"/>
                  <a:gd name="T54" fmla="*/ 231 w 421"/>
                  <a:gd name="T55" fmla="*/ 29 h 75"/>
                  <a:gd name="T56" fmla="*/ 211 w 421"/>
                  <a:gd name="T57" fmla="*/ 30 h 75"/>
                  <a:gd name="T58" fmla="*/ 191 w 421"/>
                  <a:gd name="T59" fmla="*/ 29 h 75"/>
                  <a:gd name="T60" fmla="*/ 166 w 421"/>
                  <a:gd name="T61" fmla="*/ 28 h 75"/>
                  <a:gd name="T62" fmla="*/ 138 w 421"/>
                  <a:gd name="T63" fmla="*/ 27 h 75"/>
                  <a:gd name="T64" fmla="*/ 108 w 421"/>
                  <a:gd name="T65" fmla="*/ 24 h 75"/>
                  <a:gd name="T66" fmla="*/ 78 w 421"/>
                  <a:gd name="T67" fmla="*/ 19 h 75"/>
                  <a:gd name="T68" fmla="*/ 49 w 421"/>
                  <a:gd name="T69" fmla="*/ 15 h 75"/>
                  <a:gd name="T70" fmla="*/ 35 w 421"/>
                  <a:gd name="T71" fmla="*/ 12 h 75"/>
                  <a:gd name="T72" fmla="*/ 22 w 421"/>
                  <a:gd name="T73" fmla="*/ 8 h 75"/>
                  <a:gd name="T74" fmla="*/ 10 w 421"/>
                  <a:gd name="T75" fmla="*/ 4 h 75"/>
                  <a:gd name="T76" fmla="*/ 0 w 421"/>
                  <a:gd name="T77" fmla="*/ 0 h 75"/>
                  <a:gd name="T78" fmla="*/ 0 w 421"/>
                  <a:gd name="T79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21" h="75">
                    <a:moveTo>
                      <a:pt x="0" y="0"/>
                    </a:moveTo>
                    <a:lnTo>
                      <a:pt x="0" y="42"/>
                    </a:lnTo>
                    <a:lnTo>
                      <a:pt x="8" y="46"/>
                    </a:lnTo>
                    <a:lnTo>
                      <a:pt x="22" y="52"/>
                    </a:lnTo>
                    <a:lnTo>
                      <a:pt x="43" y="57"/>
                    </a:lnTo>
                    <a:lnTo>
                      <a:pt x="67" y="62"/>
                    </a:lnTo>
                    <a:lnTo>
                      <a:pt x="97" y="68"/>
                    </a:lnTo>
                    <a:lnTo>
                      <a:pt x="130" y="71"/>
                    </a:lnTo>
                    <a:lnTo>
                      <a:pt x="169" y="74"/>
                    </a:lnTo>
                    <a:lnTo>
                      <a:pt x="211" y="75"/>
                    </a:lnTo>
                    <a:lnTo>
                      <a:pt x="253" y="74"/>
                    </a:lnTo>
                    <a:lnTo>
                      <a:pt x="290" y="71"/>
                    </a:lnTo>
                    <a:lnTo>
                      <a:pt x="325" y="68"/>
                    </a:lnTo>
                    <a:lnTo>
                      <a:pt x="355" y="62"/>
                    </a:lnTo>
                    <a:lnTo>
                      <a:pt x="379" y="57"/>
                    </a:lnTo>
                    <a:lnTo>
                      <a:pt x="399" y="52"/>
                    </a:lnTo>
                    <a:lnTo>
                      <a:pt x="414" y="46"/>
                    </a:lnTo>
                    <a:lnTo>
                      <a:pt x="421" y="42"/>
                    </a:lnTo>
                    <a:lnTo>
                      <a:pt x="421" y="0"/>
                    </a:lnTo>
                    <a:lnTo>
                      <a:pt x="410" y="4"/>
                    </a:lnTo>
                    <a:lnTo>
                      <a:pt x="399" y="8"/>
                    </a:lnTo>
                    <a:lnTo>
                      <a:pt x="386" y="12"/>
                    </a:lnTo>
                    <a:lnTo>
                      <a:pt x="373" y="14"/>
                    </a:lnTo>
                    <a:lnTo>
                      <a:pt x="344" y="19"/>
                    </a:lnTo>
                    <a:lnTo>
                      <a:pt x="314" y="24"/>
                    </a:lnTo>
                    <a:lnTo>
                      <a:pt x="284" y="27"/>
                    </a:lnTo>
                    <a:lnTo>
                      <a:pt x="256" y="28"/>
                    </a:lnTo>
                    <a:lnTo>
                      <a:pt x="231" y="29"/>
                    </a:lnTo>
                    <a:lnTo>
                      <a:pt x="211" y="30"/>
                    </a:lnTo>
                    <a:lnTo>
                      <a:pt x="191" y="29"/>
                    </a:lnTo>
                    <a:lnTo>
                      <a:pt x="166" y="28"/>
                    </a:lnTo>
                    <a:lnTo>
                      <a:pt x="138" y="27"/>
                    </a:lnTo>
                    <a:lnTo>
                      <a:pt x="108" y="24"/>
                    </a:lnTo>
                    <a:lnTo>
                      <a:pt x="78" y="19"/>
                    </a:lnTo>
                    <a:lnTo>
                      <a:pt x="49" y="15"/>
                    </a:lnTo>
                    <a:lnTo>
                      <a:pt x="35" y="12"/>
                    </a:lnTo>
                    <a:lnTo>
                      <a:pt x="22" y="8"/>
                    </a:lnTo>
                    <a:lnTo>
                      <a:pt x="10" y="4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502">
                <a:extLst>
                  <a:ext uri="{FF2B5EF4-FFF2-40B4-BE49-F238E27FC236}">
                    <a16:creationId xmlns:a16="http://schemas.microsoft.com/office/drawing/2014/main" id="{6E21230B-4506-40FA-99E3-84B1EEBA66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6025" y="1574800"/>
                <a:ext cx="133350" cy="23813"/>
              </a:xfrm>
              <a:custGeom>
                <a:avLst/>
                <a:gdLst>
                  <a:gd name="T0" fmla="*/ 0 w 421"/>
                  <a:gd name="T1" fmla="*/ 0 h 75"/>
                  <a:gd name="T2" fmla="*/ 0 w 421"/>
                  <a:gd name="T3" fmla="*/ 42 h 75"/>
                  <a:gd name="T4" fmla="*/ 8 w 421"/>
                  <a:gd name="T5" fmla="*/ 48 h 75"/>
                  <a:gd name="T6" fmla="*/ 22 w 421"/>
                  <a:gd name="T7" fmla="*/ 53 h 75"/>
                  <a:gd name="T8" fmla="*/ 43 w 421"/>
                  <a:gd name="T9" fmla="*/ 58 h 75"/>
                  <a:gd name="T10" fmla="*/ 67 w 421"/>
                  <a:gd name="T11" fmla="*/ 64 h 75"/>
                  <a:gd name="T12" fmla="*/ 97 w 421"/>
                  <a:gd name="T13" fmla="*/ 68 h 75"/>
                  <a:gd name="T14" fmla="*/ 130 w 421"/>
                  <a:gd name="T15" fmla="*/ 72 h 75"/>
                  <a:gd name="T16" fmla="*/ 169 w 421"/>
                  <a:gd name="T17" fmla="*/ 74 h 75"/>
                  <a:gd name="T18" fmla="*/ 211 w 421"/>
                  <a:gd name="T19" fmla="*/ 75 h 75"/>
                  <a:gd name="T20" fmla="*/ 253 w 421"/>
                  <a:gd name="T21" fmla="*/ 74 h 75"/>
                  <a:gd name="T22" fmla="*/ 290 w 421"/>
                  <a:gd name="T23" fmla="*/ 72 h 75"/>
                  <a:gd name="T24" fmla="*/ 325 w 421"/>
                  <a:gd name="T25" fmla="*/ 68 h 75"/>
                  <a:gd name="T26" fmla="*/ 355 w 421"/>
                  <a:gd name="T27" fmla="*/ 64 h 75"/>
                  <a:gd name="T28" fmla="*/ 379 w 421"/>
                  <a:gd name="T29" fmla="*/ 58 h 75"/>
                  <a:gd name="T30" fmla="*/ 399 w 421"/>
                  <a:gd name="T31" fmla="*/ 53 h 75"/>
                  <a:gd name="T32" fmla="*/ 414 w 421"/>
                  <a:gd name="T33" fmla="*/ 48 h 75"/>
                  <a:gd name="T34" fmla="*/ 421 w 421"/>
                  <a:gd name="T35" fmla="*/ 42 h 75"/>
                  <a:gd name="T36" fmla="*/ 421 w 421"/>
                  <a:gd name="T37" fmla="*/ 0 h 75"/>
                  <a:gd name="T38" fmla="*/ 410 w 421"/>
                  <a:gd name="T39" fmla="*/ 5 h 75"/>
                  <a:gd name="T40" fmla="*/ 399 w 421"/>
                  <a:gd name="T41" fmla="*/ 9 h 75"/>
                  <a:gd name="T42" fmla="*/ 386 w 421"/>
                  <a:gd name="T43" fmla="*/ 12 h 75"/>
                  <a:gd name="T44" fmla="*/ 373 w 421"/>
                  <a:gd name="T45" fmla="*/ 15 h 75"/>
                  <a:gd name="T46" fmla="*/ 344 w 421"/>
                  <a:gd name="T47" fmla="*/ 21 h 75"/>
                  <a:gd name="T48" fmla="*/ 314 w 421"/>
                  <a:gd name="T49" fmla="*/ 24 h 75"/>
                  <a:gd name="T50" fmla="*/ 284 w 421"/>
                  <a:gd name="T51" fmla="*/ 27 h 75"/>
                  <a:gd name="T52" fmla="*/ 256 w 421"/>
                  <a:gd name="T53" fmla="*/ 29 h 75"/>
                  <a:gd name="T54" fmla="*/ 231 w 421"/>
                  <a:gd name="T55" fmla="*/ 30 h 75"/>
                  <a:gd name="T56" fmla="*/ 211 w 421"/>
                  <a:gd name="T57" fmla="*/ 30 h 75"/>
                  <a:gd name="T58" fmla="*/ 191 w 421"/>
                  <a:gd name="T59" fmla="*/ 30 h 75"/>
                  <a:gd name="T60" fmla="*/ 166 w 421"/>
                  <a:gd name="T61" fmla="*/ 29 h 75"/>
                  <a:gd name="T62" fmla="*/ 138 w 421"/>
                  <a:gd name="T63" fmla="*/ 27 h 75"/>
                  <a:gd name="T64" fmla="*/ 108 w 421"/>
                  <a:gd name="T65" fmla="*/ 24 h 75"/>
                  <a:gd name="T66" fmla="*/ 78 w 421"/>
                  <a:gd name="T67" fmla="*/ 21 h 75"/>
                  <a:gd name="T68" fmla="*/ 49 w 421"/>
                  <a:gd name="T69" fmla="*/ 15 h 75"/>
                  <a:gd name="T70" fmla="*/ 35 w 421"/>
                  <a:gd name="T71" fmla="*/ 12 h 75"/>
                  <a:gd name="T72" fmla="*/ 22 w 421"/>
                  <a:gd name="T73" fmla="*/ 9 h 75"/>
                  <a:gd name="T74" fmla="*/ 10 w 421"/>
                  <a:gd name="T75" fmla="*/ 5 h 75"/>
                  <a:gd name="T76" fmla="*/ 0 w 421"/>
                  <a:gd name="T77" fmla="*/ 1 h 75"/>
                  <a:gd name="T78" fmla="*/ 0 w 421"/>
                  <a:gd name="T79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21" h="75">
                    <a:moveTo>
                      <a:pt x="0" y="0"/>
                    </a:moveTo>
                    <a:lnTo>
                      <a:pt x="0" y="42"/>
                    </a:lnTo>
                    <a:lnTo>
                      <a:pt x="8" y="48"/>
                    </a:lnTo>
                    <a:lnTo>
                      <a:pt x="22" y="53"/>
                    </a:lnTo>
                    <a:lnTo>
                      <a:pt x="43" y="58"/>
                    </a:lnTo>
                    <a:lnTo>
                      <a:pt x="67" y="64"/>
                    </a:lnTo>
                    <a:lnTo>
                      <a:pt x="97" y="68"/>
                    </a:lnTo>
                    <a:lnTo>
                      <a:pt x="130" y="72"/>
                    </a:lnTo>
                    <a:lnTo>
                      <a:pt x="169" y="74"/>
                    </a:lnTo>
                    <a:lnTo>
                      <a:pt x="211" y="75"/>
                    </a:lnTo>
                    <a:lnTo>
                      <a:pt x="253" y="74"/>
                    </a:lnTo>
                    <a:lnTo>
                      <a:pt x="290" y="72"/>
                    </a:lnTo>
                    <a:lnTo>
                      <a:pt x="325" y="68"/>
                    </a:lnTo>
                    <a:lnTo>
                      <a:pt x="355" y="64"/>
                    </a:lnTo>
                    <a:lnTo>
                      <a:pt x="379" y="58"/>
                    </a:lnTo>
                    <a:lnTo>
                      <a:pt x="399" y="53"/>
                    </a:lnTo>
                    <a:lnTo>
                      <a:pt x="414" y="48"/>
                    </a:lnTo>
                    <a:lnTo>
                      <a:pt x="421" y="42"/>
                    </a:lnTo>
                    <a:lnTo>
                      <a:pt x="421" y="0"/>
                    </a:lnTo>
                    <a:lnTo>
                      <a:pt x="410" y="5"/>
                    </a:lnTo>
                    <a:lnTo>
                      <a:pt x="399" y="9"/>
                    </a:lnTo>
                    <a:lnTo>
                      <a:pt x="386" y="12"/>
                    </a:lnTo>
                    <a:lnTo>
                      <a:pt x="373" y="15"/>
                    </a:lnTo>
                    <a:lnTo>
                      <a:pt x="344" y="21"/>
                    </a:lnTo>
                    <a:lnTo>
                      <a:pt x="314" y="24"/>
                    </a:lnTo>
                    <a:lnTo>
                      <a:pt x="284" y="27"/>
                    </a:lnTo>
                    <a:lnTo>
                      <a:pt x="256" y="29"/>
                    </a:lnTo>
                    <a:lnTo>
                      <a:pt x="231" y="30"/>
                    </a:lnTo>
                    <a:lnTo>
                      <a:pt x="211" y="30"/>
                    </a:lnTo>
                    <a:lnTo>
                      <a:pt x="191" y="30"/>
                    </a:lnTo>
                    <a:lnTo>
                      <a:pt x="166" y="29"/>
                    </a:lnTo>
                    <a:lnTo>
                      <a:pt x="138" y="27"/>
                    </a:lnTo>
                    <a:lnTo>
                      <a:pt x="108" y="24"/>
                    </a:lnTo>
                    <a:lnTo>
                      <a:pt x="78" y="21"/>
                    </a:lnTo>
                    <a:lnTo>
                      <a:pt x="49" y="15"/>
                    </a:lnTo>
                    <a:lnTo>
                      <a:pt x="35" y="12"/>
                    </a:lnTo>
                    <a:lnTo>
                      <a:pt x="22" y="9"/>
                    </a:lnTo>
                    <a:lnTo>
                      <a:pt x="10" y="5"/>
                    </a:lnTo>
                    <a:lnTo>
                      <a:pt x="0" y="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503">
                <a:extLst>
                  <a:ext uri="{FF2B5EF4-FFF2-40B4-BE49-F238E27FC236}">
                    <a16:creationId xmlns:a16="http://schemas.microsoft.com/office/drawing/2014/main" id="{6BE9F7CF-E43A-44D4-8C20-E77B7FC650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6025" y="1550988"/>
                <a:ext cx="133350" cy="23813"/>
              </a:xfrm>
              <a:custGeom>
                <a:avLst/>
                <a:gdLst>
                  <a:gd name="T0" fmla="*/ 0 w 421"/>
                  <a:gd name="T1" fmla="*/ 0 h 75"/>
                  <a:gd name="T2" fmla="*/ 0 w 421"/>
                  <a:gd name="T3" fmla="*/ 42 h 75"/>
                  <a:gd name="T4" fmla="*/ 8 w 421"/>
                  <a:gd name="T5" fmla="*/ 47 h 75"/>
                  <a:gd name="T6" fmla="*/ 22 w 421"/>
                  <a:gd name="T7" fmla="*/ 53 h 75"/>
                  <a:gd name="T8" fmla="*/ 43 w 421"/>
                  <a:gd name="T9" fmla="*/ 58 h 75"/>
                  <a:gd name="T10" fmla="*/ 67 w 421"/>
                  <a:gd name="T11" fmla="*/ 64 h 75"/>
                  <a:gd name="T12" fmla="*/ 97 w 421"/>
                  <a:gd name="T13" fmla="*/ 68 h 75"/>
                  <a:gd name="T14" fmla="*/ 130 w 421"/>
                  <a:gd name="T15" fmla="*/ 72 h 75"/>
                  <a:gd name="T16" fmla="*/ 169 w 421"/>
                  <a:gd name="T17" fmla="*/ 74 h 75"/>
                  <a:gd name="T18" fmla="*/ 211 w 421"/>
                  <a:gd name="T19" fmla="*/ 75 h 75"/>
                  <a:gd name="T20" fmla="*/ 253 w 421"/>
                  <a:gd name="T21" fmla="*/ 74 h 75"/>
                  <a:gd name="T22" fmla="*/ 290 w 421"/>
                  <a:gd name="T23" fmla="*/ 72 h 75"/>
                  <a:gd name="T24" fmla="*/ 325 w 421"/>
                  <a:gd name="T25" fmla="*/ 68 h 75"/>
                  <a:gd name="T26" fmla="*/ 355 w 421"/>
                  <a:gd name="T27" fmla="*/ 64 h 75"/>
                  <a:gd name="T28" fmla="*/ 379 w 421"/>
                  <a:gd name="T29" fmla="*/ 58 h 75"/>
                  <a:gd name="T30" fmla="*/ 399 w 421"/>
                  <a:gd name="T31" fmla="*/ 53 h 75"/>
                  <a:gd name="T32" fmla="*/ 414 w 421"/>
                  <a:gd name="T33" fmla="*/ 47 h 75"/>
                  <a:gd name="T34" fmla="*/ 421 w 421"/>
                  <a:gd name="T35" fmla="*/ 42 h 75"/>
                  <a:gd name="T36" fmla="*/ 421 w 421"/>
                  <a:gd name="T37" fmla="*/ 0 h 75"/>
                  <a:gd name="T38" fmla="*/ 410 w 421"/>
                  <a:gd name="T39" fmla="*/ 5 h 75"/>
                  <a:gd name="T40" fmla="*/ 399 w 421"/>
                  <a:gd name="T41" fmla="*/ 9 h 75"/>
                  <a:gd name="T42" fmla="*/ 386 w 421"/>
                  <a:gd name="T43" fmla="*/ 12 h 75"/>
                  <a:gd name="T44" fmla="*/ 373 w 421"/>
                  <a:gd name="T45" fmla="*/ 15 h 75"/>
                  <a:gd name="T46" fmla="*/ 344 w 421"/>
                  <a:gd name="T47" fmla="*/ 21 h 75"/>
                  <a:gd name="T48" fmla="*/ 314 w 421"/>
                  <a:gd name="T49" fmla="*/ 24 h 75"/>
                  <a:gd name="T50" fmla="*/ 284 w 421"/>
                  <a:gd name="T51" fmla="*/ 27 h 75"/>
                  <a:gd name="T52" fmla="*/ 256 w 421"/>
                  <a:gd name="T53" fmla="*/ 29 h 75"/>
                  <a:gd name="T54" fmla="*/ 231 w 421"/>
                  <a:gd name="T55" fmla="*/ 30 h 75"/>
                  <a:gd name="T56" fmla="*/ 211 w 421"/>
                  <a:gd name="T57" fmla="*/ 30 h 75"/>
                  <a:gd name="T58" fmla="*/ 191 w 421"/>
                  <a:gd name="T59" fmla="*/ 30 h 75"/>
                  <a:gd name="T60" fmla="*/ 166 w 421"/>
                  <a:gd name="T61" fmla="*/ 29 h 75"/>
                  <a:gd name="T62" fmla="*/ 138 w 421"/>
                  <a:gd name="T63" fmla="*/ 27 h 75"/>
                  <a:gd name="T64" fmla="*/ 108 w 421"/>
                  <a:gd name="T65" fmla="*/ 24 h 75"/>
                  <a:gd name="T66" fmla="*/ 78 w 421"/>
                  <a:gd name="T67" fmla="*/ 21 h 75"/>
                  <a:gd name="T68" fmla="*/ 49 w 421"/>
                  <a:gd name="T69" fmla="*/ 15 h 75"/>
                  <a:gd name="T70" fmla="*/ 35 w 421"/>
                  <a:gd name="T71" fmla="*/ 12 h 75"/>
                  <a:gd name="T72" fmla="*/ 22 w 421"/>
                  <a:gd name="T73" fmla="*/ 9 h 75"/>
                  <a:gd name="T74" fmla="*/ 10 w 421"/>
                  <a:gd name="T75" fmla="*/ 5 h 75"/>
                  <a:gd name="T76" fmla="*/ 0 w 421"/>
                  <a:gd name="T77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21" h="75">
                    <a:moveTo>
                      <a:pt x="0" y="0"/>
                    </a:moveTo>
                    <a:lnTo>
                      <a:pt x="0" y="42"/>
                    </a:lnTo>
                    <a:lnTo>
                      <a:pt x="8" y="47"/>
                    </a:lnTo>
                    <a:lnTo>
                      <a:pt x="22" y="53"/>
                    </a:lnTo>
                    <a:lnTo>
                      <a:pt x="43" y="58"/>
                    </a:lnTo>
                    <a:lnTo>
                      <a:pt x="67" y="64"/>
                    </a:lnTo>
                    <a:lnTo>
                      <a:pt x="97" y="68"/>
                    </a:lnTo>
                    <a:lnTo>
                      <a:pt x="130" y="72"/>
                    </a:lnTo>
                    <a:lnTo>
                      <a:pt x="169" y="74"/>
                    </a:lnTo>
                    <a:lnTo>
                      <a:pt x="211" y="75"/>
                    </a:lnTo>
                    <a:lnTo>
                      <a:pt x="253" y="74"/>
                    </a:lnTo>
                    <a:lnTo>
                      <a:pt x="290" y="72"/>
                    </a:lnTo>
                    <a:lnTo>
                      <a:pt x="325" y="68"/>
                    </a:lnTo>
                    <a:lnTo>
                      <a:pt x="355" y="64"/>
                    </a:lnTo>
                    <a:lnTo>
                      <a:pt x="379" y="58"/>
                    </a:lnTo>
                    <a:lnTo>
                      <a:pt x="399" y="53"/>
                    </a:lnTo>
                    <a:lnTo>
                      <a:pt x="414" y="47"/>
                    </a:lnTo>
                    <a:lnTo>
                      <a:pt x="421" y="42"/>
                    </a:lnTo>
                    <a:lnTo>
                      <a:pt x="421" y="0"/>
                    </a:lnTo>
                    <a:lnTo>
                      <a:pt x="410" y="5"/>
                    </a:lnTo>
                    <a:lnTo>
                      <a:pt x="399" y="9"/>
                    </a:lnTo>
                    <a:lnTo>
                      <a:pt x="386" y="12"/>
                    </a:lnTo>
                    <a:lnTo>
                      <a:pt x="373" y="15"/>
                    </a:lnTo>
                    <a:lnTo>
                      <a:pt x="344" y="21"/>
                    </a:lnTo>
                    <a:lnTo>
                      <a:pt x="314" y="24"/>
                    </a:lnTo>
                    <a:lnTo>
                      <a:pt x="284" y="27"/>
                    </a:lnTo>
                    <a:lnTo>
                      <a:pt x="256" y="29"/>
                    </a:lnTo>
                    <a:lnTo>
                      <a:pt x="231" y="30"/>
                    </a:lnTo>
                    <a:lnTo>
                      <a:pt x="211" y="30"/>
                    </a:lnTo>
                    <a:lnTo>
                      <a:pt x="191" y="30"/>
                    </a:lnTo>
                    <a:lnTo>
                      <a:pt x="166" y="29"/>
                    </a:lnTo>
                    <a:lnTo>
                      <a:pt x="138" y="27"/>
                    </a:lnTo>
                    <a:lnTo>
                      <a:pt x="108" y="24"/>
                    </a:lnTo>
                    <a:lnTo>
                      <a:pt x="78" y="21"/>
                    </a:lnTo>
                    <a:lnTo>
                      <a:pt x="49" y="15"/>
                    </a:lnTo>
                    <a:lnTo>
                      <a:pt x="35" y="12"/>
                    </a:lnTo>
                    <a:lnTo>
                      <a:pt x="22" y="9"/>
                    </a:lnTo>
                    <a:lnTo>
                      <a:pt x="10" y="5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504">
                <a:extLst>
                  <a:ext uri="{FF2B5EF4-FFF2-40B4-BE49-F238E27FC236}">
                    <a16:creationId xmlns:a16="http://schemas.microsoft.com/office/drawing/2014/main" id="{4DC002AB-908F-49F3-A42E-AED630D4E5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6025" y="1527175"/>
                <a:ext cx="133350" cy="23813"/>
              </a:xfrm>
              <a:custGeom>
                <a:avLst/>
                <a:gdLst>
                  <a:gd name="T0" fmla="*/ 0 w 421"/>
                  <a:gd name="T1" fmla="*/ 0 h 75"/>
                  <a:gd name="T2" fmla="*/ 0 w 421"/>
                  <a:gd name="T3" fmla="*/ 42 h 75"/>
                  <a:gd name="T4" fmla="*/ 8 w 421"/>
                  <a:gd name="T5" fmla="*/ 46 h 75"/>
                  <a:gd name="T6" fmla="*/ 22 w 421"/>
                  <a:gd name="T7" fmla="*/ 52 h 75"/>
                  <a:gd name="T8" fmla="*/ 43 w 421"/>
                  <a:gd name="T9" fmla="*/ 58 h 75"/>
                  <a:gd name="T10" fmla="*/ 67 w 421"/>
                  <a:gd name="T11" fmla="*/ 63 h 75"/>
                  <a:gd name="T12" fmla="*/ 97 w 421"/>
                  <a:gd name="T13" fmla="*/ 68 h 75"/>
                  <a:gd name="T14" fmla="*/ 130 w 421"/>
                  <a:gd name="T15" fmla="*/ 72 h 75"/>
                  <a:gd name="T16" fmla="*/ 169 w 421"/>
                  <a:gd name="T17" fmla="*/ 74 h 75"/>
                  <a:gd name="T18" fmla="*/ 211 w 421"/>
                  <a:gd name="T19" fmla="*/ 75 h 75"/>
                  <a:gd name="T20" fmla="*/ 253 w 421"/>
                  <a:gd name="T21" fmla="*/ 74 h 75"/>
                  <a:gd name="T22" fmla="*/ 290 w 421"/>
                  <a:gd name="T23" fmla="*/ 72 h 75"/>
                  <a:gd name="T24" fmla="*/ 325 w 421"/>
                  <a:gd name="T25" fmla="*/ 68 h 75"/>
                  <a:gd name="T26" fmla="*/ 355 w 421"/>
                  <a:gd name="T27" fmla="*/ 63 h 75"/>
                  <a:gd name="T28" fmla="*/ 379 w 421"/>
                  <a:gd name="T29" fmla="*/ 58 h 75"/>
                  <a:gd name="T30" fmla="*/ 399 w 421"/>
                  <a:gd name="T31" fmla="*/ 52 h 75"/>
                  <a:gd name="T32" fmla="*/ 414 w 421"/>
                  <a:gd name="T33" fmla="*/ 47 h 75"/>
                  <a:gd name="T34" fmla="*/ 421 w 421"/>
                  <a:gd name="T35" fmla="*/ 42 h 75"/>
                  <a:gd name="T36" fmla="*/ 421 w 421"/>
                  <a:gd name="T37" fmla="*/ 0 h 75"/>
                  <a:gd name="T38" fmla="*/ 410 w 421"/>
                  <a:gd name="T39" fmla="*/ 4 h 75"/>
                  <a:gd name="T40" fmla="*/ 399 w 421"/>
                  <a:gd name="T41" fmla="*/ 9 h 75"/>
                  <a:gd name="T42" fmla="*/ 386 w 421"/>
                  <a:gd name="T43" fmla="*/ 12 h 75"/>
                  <a:gd name="T44" fmla="*/ 373 w 421"/>
                  <a:gd name="T45" fmla="*/ 15 h 75"/>
                  <a:gd name="T46" fmla="*/ 344 w 421"/>
                  <a:gd name="T47" fmla="*/ 19 h 75"/>
                  <a:gd name="T48" fmla="*/ 314 w 421"/>
                  <a:gd name="T49" fmla="*/ 24 h 75"/>
                  <a:gd name="T50" fmla="*/ 284 w 421"/>
                  <a:gd name="T51" fmla="*/ 27 h 75"/>
                  <a:gd name="T52" fmla="*/ 256 w 421"/>
                  <a:gd name="T53" fmla="*/ 29 h 75"/>
                  <a:gd name="T54" fmla="*/ 231 w 421"/>
                  <a:gd name="T55" fmla="*/ 29 h 75"/>
                  <a:gd name="T56" fmla="*/ 211 w 421"/>
                  <a:gd name="T57" fmla="*/ 30 h 75"/>
                  <a:gd name="T58" fmla="*/ 191 w 421"/>
                  <a:gd name="T59" fmla="*/ 29 h 75"/>
                  <a:gd name="T60" fmla="*/ 166 w 421"/>
                  <a:gd name="T61" fmla="*/ 28 h 75"/>
                  <a:gd name="T62" fmla="*/ 138 w 421"/>
                  <a:gd name="T63" fmla="*/ 27 h 75"/>
                  <a:gd name="T64" fmla="*/ 108 w 421"/>
                  <a:gd name="T65" fmla="*/ 24 h 75"/>
                  <a:gd name="T66" fmla="*/ 78 w 421"/>
                  <a:gd name="T67" fmla="*/ 19 h 75"/>
                  <a:gd name="T68" fmla="*/ 49 w 421"/>
                  <a:gd name="T69" fmla="*/ 15 h 75"/>
                  <a:gd name="T70" fmla="*/ 35 w 421"/>
                  <a:gd name="T71" fmla="*/ 12 h 75"/>
                  <a:gd name="T72" fmla="*/ 22 w 421"/>
                  <a:gd name="T73" fmla="*/ 9 h 75"/>
                  <a:gd name="T74" fmla="*/ 10 w 421"/>
                  <a:gd name="T75" fmla="*/ 4 h 75"/>
                  <a:gd name="T76" fmla="*/ 0 w 421"/>
                  <a:gd name="T77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21" h="75">
                    <a:moveTo>
                      <a:pt x="0" y="0"/>
                    </a:moveTo>
                    <a:lnTo>
                      <a:pt x="0" y="42"/>
                    </a:lnTo>
                    <a:lnTo>
                      <a:pt x="8" y="46"/>
                    </a:lnTo>
                    <a:lnTo>
                      <a:pt x="22" y="52"/>
                    </a:lnTo>
                    <a:lnTo>
                      <a:pt x="43" y="58"/>
                    </a:lnTo>
                    <a:lnTo>
                      <a:pt x="67" y="63"/>
                    </a:lnTo>
                    <a:lnTo>
                      <a:pt x="97" y="68"/>
                    </a:lnTo>
                    <a:lnTo>
                      <a:pt x="130" y="72"/>
                    </a:lnTo>
                    <a:lnTo>
                      <a:pt x="169" y="74"/>
                    </a:lnTo>
                    <a:lnTo>
                      <a:pt x="211" y="75"/>
                    </a:lnTo>
                    <a:lnTo>
                      <a:pt x="253" y="74"/>
                    </a:lnTo>
                    <a:lnTo>
                      <a:pt x="290" y="72"/>
                    </a:lnTo>
                    <a:lnTo>
                      <a:pt x="325" y="68"/>
                    </a:lnTo>
                    <a:lnTo>
                      <a:pt x="355" y="63"/>
                    </a:lnTo>
                    <a:lnTo>
                      <a:pt x="379" y="58"/>
                    </a:lnTo>
                    <a:lnTo>
                      <a:pt x="399" y="52"/>
                    </a:lnTo>
                    <a:lnTo>
                      <a:pt x="414" y="47"/>
                    </a:lnTo>
                    <a:lnTo>
                      <a:pt x="421" y="42"/>
                    </a:lnTo>
                    <a:lnTo>
                      <a:pt x="421" y="0"/>
                    </a:lnTo>
                    <a:lnTo>
                      <a:pt x="410" y="4"/>
                    </a:lnTo>
                    <a:lnTo>
                      <a:pt x="399" y="9"/>
                    </a:lnTo>
                    <a:lnTo>
                      <a:pt x="386" y="12"/>
                    </a:lnTo>
                    <a:lnTo>
                      <a:pt x="373" y="15"/>
                    </a:lnTo>
                    <a:lnTo>
                      <a:pt x="344" y="19"/>
                    </a:lnTo>
                    <a:lnTo>
                      <a:pt x="314" y="24"/>
                    </a:lnTo>
                    <a:lnTo>
                      <a:pt x="284" y="27"/>
                    </a:lnTo>
                    <a:lnTo>
                      <a:pt x="256" y="29"/>
                    </a:lnTo>
                    <a:lnTo>
                      <a:pt x="231" y="29"/>
                    </a:lnTo>
                    <a:lnTo>
                      <a:pt x="211" y="30"/>
                    </a:lnTo>
                    <a:lnTo>
                      <a:pt x="191" y="29"/>
                    </a:lnTo>
                    <a:lnTo>
                      <a:pt x="166" y="28"/>
                    </a:lnTo>
                    <a:lnTo>
                      <a:pt x="138" y="27"/>
                    </a:lnTo>
                    <a:lnTo>
                      <a:pt x="108" y="24"/>
                    </a:lnTo>
                    <a:lnTo>
                      <a:pt x="78" y="19"/>
                    </a:lnTo>
                    <a:lnTo>
                      <a:pt x="49" y="15"/>
                    </a:lnTo>
                    <a:lnTo>
                      <a:pt x="35" y="12"/>
                    </a:lnTo>
                    <a:lnTo>
                      <a:pt x="22" y="9"/>
                    </a:lnTo>
                    <a:lnTo>
                      <a:pt x="10" y="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F0F1B471-C5CE-4B11-A7C2-40D84A255E0A}"/>
                </a:ext>
              </a:extLst>
            </p:cNvPr>
            <p:cNvGrpSpPr/>
            <p:nvPr/>
          </p:nvGrpSpPr>
          <p:grpSpPr>
            <a:xfrm>
              <a:off x="2508803" y="4236595"/>
              <a:ext cx="358222" cy="310460"/>
              <a:chOff x="11028363" y="5368925"/>
              <a:chExt cx="285750" cy="247650"/>
            </a:xfrm>
            <a:solidFill>
              <a:schemeClr val="bg1"/>
            </a:solidFill>
          </p:grpSpPr>
          <p:sp>
            <p:nvSpPr>
              <p:cNvPr id="56" name="Freeform 3577">
                <a:extLst>
                  <a:ext uri="{FF2B5EF4-FFF2-40B4-BE49-F238E27FC236}">
                    <a16:creationId xmlns:a16="http://schemas.microsoft.com/office/drawing/2014/main" id="{D7633A50-AA2B-4340-9C39-32AA586E35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28363" y="5454650"/>
                <a:ext cx="66675" cy="114300"/>
              </a:xfrm>
              <a:custGeom>
                <a:avLst/>
                <a:gdLst>
                  <a:gd name="T0" fmla="*/ 0 w 169"/>
                  <a:gd name="T1" fmla="*/ 98 h 288"/>
                  <a:gd name="T2" fmla="*/ 0 w 169"/>
                  <a:gd name="T3" fmla="*/ 114 h 288"/>
                  <a:gd name="T4" fmla="*/ 2 w 169"/>
                  <a:gd name="T5" fmla="*/ 131 h 288"/>
                  <a:gd name="T6" fmla="*/ 3 w 169"/>
                  <a:gd name="T7" fmla="*/ 139 h 288"/>
                  <a:gd name="T8" fmla="*/ 5 w 169"/>
                  <a:gd name="T9" fmla="*/ 146 h 288"/>
                  <a:gd name="T10" fmla="*/ 9 w 169"/>
                  <a:gd name="T11" fmla="*/ 153 h 288"/>
                  <a:gd name="T12" fmla="*/ 13 w 169"/>
                  <a:gd name="T13" fmla="*/ 159 h 288"/>
                  <a:gd name="T14" fmla="*/ 18 w 169"/>
                  <a:gd name="T15" fmla="*/ 163 h 288"/>
                  <a:gd name="T16" fmla="*/ 23 w 169"/>
                  <a:gd name="T17" fmla="*/ 166 h 288"/>
                  <a:gd name="T18" fmla="*/ 23 w 169"/>
                  <a:gd name="T19" fmla="*/ 288 h 288"/>
                  <a:gd name="T20" fmla="*/ 144 w 169"/>
                  <a:gd name="T21" fmla="*/ 288 h 288"/>
                  <a:gd name="T22" fmla="*/ 144 w 169"/>
                  <a:gd name="T23" fmla="*/ 166 h 288"/>
                  <a:gd name="T24" fmla="*/ 151 w 169"/>
                  <a:gd name="T25" fmla="*/ 162 h 288"/>
                  <a:gd name="T26" fmla="*/ 156 w 169"/>
                  <a:gd name="T27" fmla="*/ 157 h 288"/>
                  <a:gd name="T28" fmla="*/ 161 w 169"/>
                  <a:gd name="T29" fmla="*/ 150 h 288"/>
                  <a:gd name="T30" fmla="*/ 165 w 169"/>
                  <a:gd name="T31" fmla="*/ 140 h 288"/>
                  <a:gd name="T32" fmla="*/ 166 w 169"/>
                  <a:gd name="T33" fmla="*/ 130 h 288"/>
                  <a:gd name="T34" fmla="*/ 167 w 169"/>
                  <a:gd name="T35" fmla="*/ 119 h 288"/>
                  <a:gd name="T36" fmla="*/ 169 w 169"/>
                  <a:gd name="T37" fmla="*/ 109 h 288"/>
                  <a:gd name="T38" fmla="*/ 169 w 169"/>
                  <a:gd name="T39" fmla="*/ 99 h 288"/>
                  <a:gd name="T40" fmla="*/ 169 w 169"/>
                  <a:gd name="T41" fmla="*/ 0 h 288"/>
                  <a:gd name="T42" fmla="*/ 0 w 169"/>
                  <a:gd name="T43" fmla="*/ 0 h 288"/>
                  <a:gd name="T44" fmla="*/ 0 w 169"/>
                  <a:gd name="T45" fmla="*/ 98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69" h="288">
                    <a:moveTo>
                      <a:pt x="0" y="98"/>
                    </a:moveTo>
                    <a:lnTo>
                      <a:pt x="0" y="114"/>
                    </a:lnTo>
                    <a:lnTo>
                      <a:pt x="2" y="131"/>
                    </a:lnTo>
                    <a:lnTo>
                      <a:pt x="3" y="139"/>
                    </a:lnTo>
                    <a:lnTo>
                      <a:pt x="5" y="146"/>
                    </a:lnTo>
                    <a:lnTo>
                      <a:pt x="9" y="153"/>
                    </a:lnTo>
                    <a:lnTo>
                      <a:pt x="13" y="159"/>
                    </a:lnTo>
                    <a:lnTo>
                      <a:pt x="18" y="163"/>
                    </a:lnTo>
                    <a:lnTo>
                      <a:pt x="23" y="166"/>
                    </a:lnTo>
                    <a:lnTo>
                      <a:pt x="23" y="288"/>
                    </a:lnTo>
                    <a:lnTo>
                      <a:pt x="144" y="288"/>
                    </a:lnTo>
                    <a:lnTo>
                      <a:pt x="144" y="166"/>
                    </a:lnTo>
                    <a:lnTo>
                      <a:pt x="151" y="162"/>
                    </a:lnTo>
                    <a:lnTo>
                      <a:pt x="156" y="157"/>
                    </a:lnTo>
                    <a:lnTo>
                      <a:pt x="161" y="150"/>
                    </a:lnTo>
                    <a:lnTo>
                      <a:pt x="165" y="140"/>
                    </a:lnTo>
                    <a:lnTo>
                      <a:pt x="166" y="130"/>
                    </a:lnTo>
                    <a:lnTo>
                      <a:pt x="167" y="119"/>
                    </a:lnTo>
                    <a:lnTo>
                      <a:pt x="169" y="109"/>
                    </a:lnTo>
                    <a:lnTo>
                      <a:pt x="169" y="99"/>
                    </a:lnTo>
                    <a:lnTo>
                      <a:pt x="169" y="0"/>
                    </a:lnTo>
                    <a:lnTo>
                      <a:pt x="0" y="0"/>
                    </a:lnTo>
                    <a:lnTo>
                      <a:pt x="0" y="9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3578">
                <a:extLst>
                  <a:ext uri="{FF2B5EF4-FFF2-40B4-BE49-F238E27FC236}">
                    <a16:creationId xmlns:a16="http://schemas.microsoft.com/office/drawing/2014/main" id="{A2C3225D-0F95-4BFA-B533-6F0D303751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247438" y="5454650"/>
                <a:ext cx="66675" cy="114300"/>
              </a:xfrm>
              <a:custGeom>
                <a:avLst/>
                <a:gdLst>
                  <a:gd name="T0" fmla="*/ 0 w 168"/>
                  <a:gd name="T1" fmla="*/ 0 h 288"/>
                  <a:gd name="T2" fmla="*/ 0 w 168"/>
                  <a:gd name="T3" fmla="*/ 95 h 288"/>
                  <a:gd name="T4" fmla="*/ 0 w 168"/>
                  <a:gd name="T5" fmla="*/ 105 h 288"/>
                  <a:gd name="T6" fmla="*/ 1 w 168"/>
                  <a:gd name="T7" fmla="*/ 116 h 288"/>
                  <a:gd name="T8" fmla="*/ 3 w 168"/>
                  <a:gd name="T9" fmla="*/ 123 h 288"/>
                  <a:gd name="T10" fmla="*/ 6 w 168"/>
                  <a:gd name="T11" fmla="*/ 131 h 288"/>
                  <a:gd name="T12" fmla="*/ 10 w 168"/>
                  <a:gd name="T13" fmla="*/ 139 h 288"/>
                  <a:gd name="T14" fmla="*/ 14 w 168"/>
                  <a:gd name="T15" fmla="*/ 144 h 288"/>
                  <a:gd name="T16" fmla="*/ 19 w 168"/>
                  <a:gd name="T17" fmla="*/ 149 h 288"/>
                  <a:gd name="T18" fmla="*/ 24 w 168"/>
                  <a:gd name="T19" fmla="*/ 153 h 288"/>
                  <a:gd name="T20" fmla="*/ 24 w 168"/>
                  <a:gd name="T21" fmla="*/ 288 h 288"/>
                  <a:gd name="T22" fmla="*/ 143 w 168"/>
                  <a:gd name="T23" fmla="*/ 288 h 288"/>
                  <a:gd name="T24" fmla="*/ 143 w 168"/>
                  <a:gd name="T25" fmla="*/ 153 h 288"/>
                  <a:gd name="T26" fmla="*/ 150 w 168"/>
                  <a:gd name="T27" fmla="*/ 149 h 288"/>
                  <a:gd name="T28" fmla="*/ 154 w 168"/>
                  <a:gd name="T29" fmla="*/ 144 h 288"/>
                  <a:gd name="T30" fmla="*/ 158 w 168"/>
                  <a:gd name="T31" fmla="*/ 137 h 288"/>
                  <a:gd name="T32" fmla="*/ 161 w 168"/>
                  <a:gd name="T33" fmla="*/ 130 h 288"/>
                  <a:gd name="T34" fmla="*/ 164 w 168"/>
                  <a:gd name="T35" fmla="*/ 122 h 288"/>
                  <a:gd name="T36" fmla="*/ 167 w 168"/>
                  <a:gd name="T37" fmla="*/ 113 h 288"/>
                  <a:gd name="T38" fmla="*/ 168 w 168"/>
                  <a:gd name="T39" fmla="*/ 104 h 288"/>
                  <a:gd name="T40" fmla="*/ 168 w 168"/>
                  <a:gd name="T41" fmla="*/ 95 h 288"/>
                  <a:gd name="T42" fmla="*/ 168 w 168"/>
                  <a:gd name="T43" fmla="*/ 0 h 288"/>
                  <a:gd name="T44" fmla="*/ 0 w 168"/>
                  <a:gd name="T45" fmla="*/ 0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68" h="288">
                    <a:moveTo>
                      <a:pt x="0" y="0"/>
                    </a:moveTo>
                    <a:lnTo>
                      <a:pt x="0" y="95"/>
                    </a:lnTo>
                    <a:lnTo>
                      <a:pt x="0" y="105"/>
                    </a:lnTo>
                    <a:lnTo>
                      <a:pt x="1" y="116"/>
                    </a:lnTo>
                    <a:lnTo>
                      <a:pt x="3" y="123"/>
                    </a:lnTo>
                    <a:lnTo>
                      <a:pt x="6" y="131"/>
                    </a:lnTo>
                    <a:lnTo>
                      <a:pt x="10" y="139"/>
                    </a:lnTo>
                    <a:lnTo>
                      <a:pt x="14" y="144"/>
                    </a:lnTo>
                    <a:lnTo>
                      <a:pt x="19" y="149"/>
                    </a:lnTo>
                    <a:lnTo>
                      <a:pt x="24" y="153"/>
                    </a:lnTo>
                    <a:lnTo>
                      <a:pt x="24" y="288"/>
                    </a:lnTo>
                    <a:lnTo>
                      <a:pt x="143" y="288"/>
                    </a:lnTo>
                    <a:lnTo>
                      <a:pt x="143" y="153"/>
                    </a:lnTo>
                    <a:lnTo>
                      <a:pt x="150" y="149"/>
                    </a:lnTo>
                    <a:lnTo>
                      <a:pt x="154" y="144"/>
                    </a:lnTo>
                    <a:lnTo>
                      <a:pt x="158" y="137"/>
                    </a:lnTo>
                    <a:lnTo>
                      <a:pt x="161" y="130"/>
                    </a:lnTo>
                    <a:lnTo>
                      <a:pt x="164" y="122"/>
                    </a:lnTo>
                    <a:lnTo>
                      <a:pt x="167" y="113"/>
                    </a:lnTo>
                    <a:lnTo>
                      <a:pt x="168" y="104"/>
                    </a:lnTo>
                    <a:lnTo>
                      <a:pt x="168" y="95"/>
                    </a:lnTo>
                    <a:lnTo>
                      <a:pt x="168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3579">
                <a:extLst>
                  <a:ext uri="{FF2B5EF4-FFF2-40B4-BE49-F238E27FC236}">
                    <a16:creationId xmlns:a16="http://schemas.microsoft.com/office/drawing/2014/main" id="{41021F8D-28A3-4C98-964C-0B87FD521B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123613" y="5454650"/>
                <a:ext cx="95250" cy="161925"/>
              </a:xfrm>
              <a:custGeom>
                <a:avLst/>
                <a:gdLst>
                  <a:gd name="T0" fmla="*/ 0 w 241"/>
                  <a:gd name="T1" fmla="*/ 168 h 408"/>
                  <a:gd name="T2" fmla="*/ 0 w 241"/>
                  <a:gd name="T3" fmla="*/ 182 h 408"/>
                  <a:gd name="T4" fmla="*/ 3 w 241"/>
                  <a:gd name="T5" fmla="*/ 195 h 408"/>
                  <a:gd name="T6" fmla="*/ 7 w 241"/>
                  <a:gd name="T7" fmla="*/ 206 h 408"/>
                  <a:gd name="T8" fmla="*/ 13 w 241"/>
                  <a:gd name="T9" fmla="*/ 216 h 408"/>
                  <a:gd name="T10" fmla="*/ 20 w 241"/>
                  <a:gd name="T11" fmla="*/ 225 h 408"/>
                  <a:gd name="T12" fmla="*/ 27 w 241"/>
                  <a:gd name="T13" fmla="*/ 231 h 408"/>
                  <a:gd name="T14" fmla="*/ 38 w 241"/>
                  <a:gd name="T15" fmla="*/ 236 h 408"/>
                  <a:gd name="T16" fmla="*/ 48 w 241"/>
                  <a:gd name="T17" fmla="*/ 239 h 408"/>
                  <a:gd name="T18" fmla="*/ 48 w 241"/>
                  <a:gd name="T19" fmla="*/ 408 h 408"/>
                  <a:gd name="T20" fmla="*/ 192 w 241"/>
                  <a:gd name="T21" fmla="*/ 408 h 408"/>
                  <a:gd name="T22" fmla="*/ 192 w 241"/>
                  <a:gd name="T23" fmla="*/ 239 h 408"/>
                  <a:gd name="T24" fmla="*/ 203 w 241"/>
                  <a:gd name="T25" fmla="*/ 236 h 408"/>
                  <a:gd name="T26" fmla="*/ 212 w 241"/>
                  <a:gd name="T27" fmla="*/ 231 h 408"/>
                  <a:gd name="T28" fmla="*/ 221 w 241"/>
                  <a:gd name="T29" fmla="*/ 225 h 408"/>
                  <a:gd name="T30" fmla="*/ 228 w 241"/>
                  <a:gd name="T31" fmla="*/ 216 h 408"/>
                  <a:gd name="T32" fmla="*/ 233 w 241"/>
                  <a:gd name="T33" fmla="*/ 206 h 408"/>
                  <a:gd name="T34" fmla="*/ 237 w 241"/>
                  <a:gd name="T35" fmla="*/ 195 h 408"/>
                  <a:gd name="T36" fmla="*/ 239 w 241"/>
                  <a:gd name="T37" fmla="*/ 182 h 408"/>
                  <a:gd name="T38" fmla="*/ 241 w 241"/>
                  <a:gd name="T39" fmla="*/ 168 h 408"/>
                  <a:gd name="T40" fmla="*/ 241 w 241"/>
                  <a:gd name="T41" fmla="*/ 0 h 408"/>
                  <a:gd name="T42" fmla="*/ 0 w 241"/>
                  <a:gd name="T43" fmla="*/ 0 h 408"/>
                  <a:gd name="T44" fmla="*/ 0 w 241"/>
                  <a:gd name="T45" fmla="*/ 168 h 4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41" h="408">
                    <a:moveTo>
                      <a:pt x="0" y="168"/>
                    </a:moveTo>
                    <a:lnTo>
                      <a:pt x="0" y="182"/>
                    </a:lnTo>
                    <a:lnTo>
                      <a:pt x="3" y="195"/>
                    </a:lnTo>
                    <a:lnTo>
                      <a:pt x="7" y="206"/>
                    </a:lnTo>
                    <a:lnTo>
                      <a:pt x="13" y="216"/>
                    </a:lnTo>
                    <a:lnTo>
                      <a:pt x="20" y="225"/>
                    </a:lnTo>
                    <a:lnTo>
                      <a:pt x="27" y="231"/>
                    </a:lnTo>
                    <a:lnTo>
                      <a:pt x="38" y="236"/>
                    </a:lnTo>
                    <a:lnTo>
                      <a:pt x="48" y="239"/>
                    </a:lnTo>
                    <a:lnTo>
                      <a:pt x="48" y="408"/>
                    </a:lnTo>
                    <a:lnTo>
                      <a:pt x="192" y="408"/>
                    </a:lnTo>
                    <a:lnTo>
                      <a:pt x="192" y="239"/>
                    </a:lnTo>
                    <a:lnTo>
                      <a:pt x="203" y="236"/>
                    </a:lnTo>
                    <a:lnTo>
                      <a:pt x="212" y="231"/>
                    </a:lnTo>
                    <a:lnTo>
                      <a:pt x="221" y="225"/>
                    </a:lnTo>
                    <a:lnTo>
                      <a:pt x="228" y="216"/>
                    </a:lnTo>
                    <a:lnTo>
                      <a:pt x="233" y="206"/>
                    </a:lnTo>
                    <a:lnTo>
                      <a:pt x="237" y="195"/>
                    </a:lnTo>
                    <a:lnTo>
                      <a:pt x="239" y="182"/>
                    </a:lnTo>
                    <a:lnTo>
                      <a:pt x="241" y="168"/>
                    </a:lnTo>
                    <a:lnTo>
                      <a:pt x="241" y="0"/>
                    </a:lnTo>
                    <a:lnTo>
                      <a:pt x="0" y="0"/>
                    </a:lnTo>
                    <a:lnTo>
                      <a:pt x="0" y="16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3581">
                <a:extLst>
                  <a:ext uri="{FF2B5EF4-FFF2-40B4-BE49-F238E27FC236}">
                    <a16:creationId xmlns:a16="http://schemas.microsoft.com/office/drawing/2014/main" id="{BCD32084-12E0-4648-96D3-AC47E3E71F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256963" y="5397500"/>
                <a:ext cx="47625" cy="47625"/>
              </a:xfrm>
              <a:custGeom>
                <a:avLst/>
                <a:gdLst>
                  <a:gd name="T0" fmla="*/ 60 w 119"/>
                  <a:gd name="T1" fmla="*/ 121 h 121"/>
                  <a:gd name="T2" fmla="*/ 72 w 119"/>
                  <a:gd name="T3" fmla="*/ 119 h 121"/>
                  <a:gd name="T4" fmla="*/ 83 w 119"/>
                  <a:gd name="T5" fmla="*/ 115 h 121"/>
                  <a:gd name="T6" fmla="*/ 94 w 119"/>
                  <a:gd name="T7" fmla="*/ 110 h 121"/>
                  <a:gd name="T8" fmla="*/ 103 w 119"/>
                  <a:gd name="T9" fmla="*/ 103 h 121"/>
                  <a:gd name="T10" fmla="*/ 109 w 119"/>
                  <a:gd name="T11" fmla="*/ 94 h 121"/>
                  <a:gd name="T12" fmla="*/ 116 w 119"/>
                  <a:gd name="T13" fmla="*/ 83 h 121"/>
                  <a:gd name="T14" fmla="*/ 118 w 119"/>
                  <a:gd name="T15" fmla="*/ 72 h 121"/>
                  <a:gd name="T16" fmla="*/ 119 w 119"/>
                  <a:gd name="T17" fmla="*/ 60 h 121"/>
                  <a:gd name="T18" fmla="*/ 118 w 119"/>
                  <a:gd name="T19" fmla="*/ 49 h 121"/>
                  <a:gd name="T20" fmla="*/ 116 w 119"/>
                  <a:gd name="T21" fmla="*/ 37 h 121"/>
                  <a:gd name="T22" fmla="*/ 109 w 119"/>
                  <a:gd name="T23" fmla="*/ 27 h 121"/>
                  <a:gd name="T24" fmla="*/ 103 w 119"/>
                  <a:gd name="T25" fmla="*/ 18 h 121"/>
                  <a:gd name="T26" fmla="*/ 94 w 119"/>
                  <a:gd name="T27" fmla="*/ 10 h 121"/>
                  <a:gd name="T28" fmla="*/ 83 w 119"/>
                  <a:gd name="T29" fmla="*/ 5 h 121"/>
                  <a:gd name="T30" fmla="*/ 72 w 119"/>
                  <a:gd name="T31" fmla="*/ 1 h 121"/>
                  <a:gd name="T32" fmla="*/ 60 w 119"/>
                  <a:gd name="T33" fmla="*/ 0 h 121"/>
                  <a:gd name="T34" fmla="*/ 47 w 119"/>
                  <a:gd name="T35" fmla="*/ 1 h 121"/>
                  <a:gd name="T36" fmla="*/ 36 w 119"/>
                  <a:gd name="T37" fmla="*/ 5 h 121"/>
                  <a:gd name="T38" fmla="*/ 26 w 119"/>
                  <a:gd name="T39" fmla="*/ 10 h 121"/>
                  <a:gd name="T40" fmla="*/ 17 w 119"/>
                  <a:gd name="T41" fmla="*/ 18 h 121"/>
                  <a:gd name="T42" fmla="*/ 10 w 119"/>
                  <a:gd name="T43" fmla="*/ 27 h 121"/>
                  <a:gd name="T44" fmla="*/ 4 w 119"/>
                  <a:gd name="T45" fmla="*/ 37 h 121"/>
                  <a:gd name="T46" fmla="*/ 1 w 119"/>
                  <a:gd name="T47" fmla="*/ 49 h 121"/>
                  <a:gd name="T48" fmla="*/ 0 w 119"/>
                  <a:gd name="T49" fmla="*/ 60 h 121"/>
                  <a:gd name="T50" fmla="*/ 1 w 119"/>
                  <a:gd name="T51" fmla="*/ 72 h 121"/>
                  <a:gd name="T52" fmla="*/ 4 w 119"/>
                  <a:gd name="T53" fmla="*/ 83 h 121"/>
                  <a:gd name="T54" fmla="*/ 10 w 119"/>
                  <a:gd name="T55" fmla="*/ 94 h 121"/>
                  <a:gd name="T56" fmla="*/ 17 w 119"/>
                  <a:gd name="T57" fmla="*/ 103 h 121"/>
                  <a:gd name="T58" fmla="*/ 26 w 119"/>
                  <a:gd name="T59" fmla="*/ 110 h 121"/>
                  <a:gd name="T60" fmla="*/ 36 w 119"/>
                  <a:gd name="T61" fmla="*/ 115 h 121"/>
                  <a:gd name="T62" fmla="*/ 47 w 119"/>
                  <a:gd name="T63" fmla="*/ 119 h 121"/>
                  <a:gd name="T64" fmla="*/ 60 w 119"/>
                  <a:gd name="T65" fmla="*/ 121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19" h="121">
                    <a:moveTo>
                      <a:pt x="60" y="121"/>
                    </a:moveTo>
                    <a:lnTo>
                      <a:pt x="72" y="119"/>
                    </a:lnTo>
                    <a:lnTo>
                      <a:pt x="83" y="115"/>
                    </a:lnTo>
                    <a:lnTo>
                      <a:pt x="94" y="110"/>
                    </a:lnTo>
                    <a:lnTo>
                      <a:pt x="103" y="103"/>
                    </a:lnTo>
                    <a:lnTo>
                      <a:pt x="109" y="94"/>
                    </a:lnTo>
                    <a:lnTo>
                      <a:pt x="116" y="83"/>
                    </a:lnTo>
                    <a:lnTo>
                      <a:pt x="118" y="72"/>
                    </a:lnTo>
                    <a:lnTo>
                      <a:pt x="119" y="60"/>
                    </a:lnTo>
                    <a:lnTo>
                      <a:pt x="118" y="49"/>
                    </a:lnTo>
                    <a:lnTo>
                      <a:pt x="116" y="37"/>
                    </a:lnTo>
                    <a:lnTo>
                      <a:pt x="109" y="27"/>
                    </a:lnTo>
                    <a:lnTo>
                      <a:pt x="103" y="18"/>
                    </a:lnTo>
                    <a:lnTo>
                      <a:pt x="94" y="10"/>
                    </a:lnTo>
                    <a:lnTo>
                      <a:pt x="83" y="5"/>
                    </a:lnTo>
                    <a:lnTo>
                      <a:pt x="72" y="1"/>
                    </a:lnTo>
                    <a:lnTo>
                      <a:pt x="60" y="0"/>
                    </a:lnTo>
                    <a:lnTo>
                      <a:pt x="47" y="1"/>
                    </a:lnTo>
                    <a:lnTo>
                      <a:pt x="36" y="5"/>
                    </a:lnTo>
                    <a:lnTo>
                      <a:pt x="26" y="10"/>
                    </a:lnTo>
                    <a:lnTo>
                      <a:pt x="17" y="18"/>
                    </a:lnTo>
                    <a:lnTo>
                      <a:pt x="10" y="27"/>
                    </a:lnTo>
                    <a:lnTo>
                      <a:pt x="4" y="37"/>
                    </a:lnTo>
                    <a:lnTo>
                      <a:pt x="1" y="49"/>
                    </a:lnTo>
                    <a:lnTo>
                      <a:pt x="0" y="60"/>
                    </a:lnTo>
                    <a:lnTo>
                      <a:pt x="1" y="72"/>
                    </a:lnTo>
                    <a:lnTo>
                      <a:pt x="4" y="83"/>
                    </a:lnTo>
                    <a:lnTo>
                      <a:pt x="10" y="94"/>
                    </a:lnTo>
                    <a:lnTo>
                      <a:pt x="17" y="103"/>
                    </a:lnTo>
                    <a:lnTo>
                      <a:pt x="26" y="110"/>
                    </a:lnTo>
                    <a:lnTo>
                      <a:pt x="36" y="115"/>
                    </a:lnTo>
                    <a:lnTo>
                      <a:pt x="47" y="119"/>
                    </a:lnTo>
                    <a:lnTo>
                      <a:pt x="60" y="12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3582">
                <a:extLst>
                  <a:ext uri="{FF2B5EF4-FFF2-40B4-BE49-F238E27FC236}">
                    <a16:creationId xmlns:a16="http://schemas.microsoft.com/office/drawing/2014/main" id="{36D24CDB-189A-4676-905F-09C62876DE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37888" y="5397500"/>
                <a:ext cx="47625" cy="47625"/>
              </a:xfrm>
              <a:custGeom>
                <a:avLst/>
                <a:gdLst>
                  <a:gd name="T0" fmla="*/ 61 w 121"/>
                  <a:gd name="T1" fmla="*/ 121 h 121"/>
                  <a:gd name="T2" fmla="*/ 72 w 121"/>
                  <a:gd name="T3" fmla="*/ 119 h 121"/>
                  <a:gd name="T4" fmla="*/ 84 w 121"/>
                  <a:gd name="T5" fmla="*/ 115 h 121"/>
                  <a:gd name="T6" fmla="*/ 94 w 121"/>
                  <a:gd name="T7" fmla="*/ 110 h 121"/>
                  <a:gd name="T8" fmla="*/ 103 w 121"/>
                  <a:gd name="T9" fmla="*/ 103 h 121"/>
                  <a:gd name="T10" fmla="*/ 111 w 121"/>
                  <a:gd name="T11" fmla="*/ 94 h 121"/>
                  <a:gd name="T12" fmla="*/ 116 w 121"/>
                  <a:gd name="T13" fmla="*/ 83 h 121"/>
                  <a:gd name="T14" fmla="*/ 120 w 121"/>
                  <a:gd name="T15" fmla="*/ 72 h 121"/>
                  <a:gd name="T16" fmla="*/ 121 w 121"/>
                  <a:gd name="T17" fmla="*/ 60 h 121"/>
                  <a:gd name="T18" fmla="*/ 120 w 121"/>
                  <a:gd name="T19" fmla="*/ 49 h 121"/>
                  <a:gd name="T20" fmla="*/ 116 w 121"/>
                  <a:gd name="T21" fmla="*/ 37 h 121"/>
                  <a:gd name="T22" fmla="*/ 111 w 121"/>
                  <a:gd name="T23" fmla="*/ 27 h 121"/>
                  <a:gd name="T24" fmla="*/ 103 w 121"/>
                  <a:gd name="T25" fmla="*/ 18 h 121"/>
                  <a:gd name="T26" fmla="*/ 94 w 121"/>
                  <a:gd name="T27" fmla="*/ 10 h 121"/>
                  <a:gd name="T28" fmla="*/ 84 w 121"/>
                  <a:gd name="T29" fmla="*/ 5 h 121"/>
                  <a:gd name="T30" fmla="*/ 72 w 121"/>
                  <a:gd name="T31" fmla="*/ 1 h 121"/>
                  <a:gd name="T32" fmla="*/ 61 w 121"/>
                  <a:gd name="T33" fmla="*/ 0 h 121"/>
                  <a:gd name="T34" fmla="*/ 49 w 121"/>
                  <a:gd name="T35" fmla="*/ 1 h 121"/>
                  <a:gd name="T36" fmla="*/ 38 w 121"/>
                  <a:gd name="T37" fmla="*/ 5 h 121"/>
                  <a:gd name="T38" fmla="*/ 27 w 121"/>
                  <a:gd name="T39" fmla="*/ 10 h 121"/>
                  <a:gd name="T40" fmla="*/ 18 w 121"/>
                  <a:gd name="T41" fmla="*/ 18 h 121"/>
                  <a:gd name="T42" fmla="*/ 11 w 121"/>
                  <a:gd name="T43" fmla="*/ 27 h 121"/>
                  <a:gd name="T44" fmla="*/ 6 w 121"/>
                  <a:gd name="T45" fmla="*/ 37 h 121"/>
                  <a:gd name="T46" fmla="*/ 2 w 121"/>
                  <a:gd name="T47" fmla="*/ 49 h 121"/>
                  <a:gd name="T48" fmla="*/ 0 w 121"/>
                  <a:gd name="T49" fmla="*/ 60 h 121"/>
                  <a:gd name="T50" fmla="*/ 2 w 121"/>
                  <a:gd name="T51" fmla="*/ 72 h 121"/>
                  <a:gd name="T52" fmla="*/ 6 w 121"/>
                  <a:gd name="T53" fmla="*/ 83 h 121"/>
                  <a:gd name="T54" fmla="*/ 11 w 121"/>
                  <a:gd name="T55" fmla="*/ 94 h 121"/>
                  <a:gd name="T56" fmla="*/ 18 w 121"/>
                  <a:gd name="T57" fmla="*/ 103 h 121"/>
                  <a:gd name="T58" fmla="*/ 27 w 121"/>
                  <a:gd name="T59" fmla="*/ 110 h 121"/>
                  <a:gd name="T60" fmla="*/ 38 w 121"/>
                  <a:gd name="T61" fmla="*/ 115 h 121"/>
                  <a:gd name="T62" fmla="*/ 49 w 121"/>
                  <a:gd name="T63" fmla="*/ 119 h 121"/>
                  <a:gd name="T64" fmla="*/ 61 w 121"/>
                  <a:gd name="T65" fmla="*/ 121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21" h="121">
                    <a:moveTo>
                      <a:pt x="61" y="121"/>
                    </a:moveTo>
                    <a:lnTo>
                      <a:pt x="72" y="119"/>
                    </a:lnTo>
                    <a:lnTo>
                      <a:pt x="84" y="115"/>
                    </a:lnTo>
                    <a:lnTo>
                      <a:pt x="94" y="110"/>
                    </a:lnTo>
                    <a:lnTo>
                      <a:pt x="103" y="103"/>
                    </a:lnTo>
                    <a:lnTo>
                      <a:pt x="111" y="94"/>
                    </a:lnTo>
                    <a:lnTo>
                      <a:pt x="116" y="83"/>
                    </a:lnTo>
                    <a:lnTo>
                      <a:pt x="120" y="72"/>
                    </a:lnTo>
                    <a:lnTo>
                      <a:pt x="121" y="60"/>
                    </a:lnTo>
                    <a:lnTo>
                      <a:pt x="120" y="49"/>
                    </a:lnTo>
                    <a:lnTo>
                      <a:pt x="116" y="37"/>
                    </a:lnTo>
                    <a:lnTo>
                      <a:pt x="111" y="27"/>
                    </a:lnTo>
                    <a:lnTo>
                      <a:pt x="103" y="18"/>
                    </a:lnTo>
                    <a:lnTo>
                      <a:pt x="94" y="10"/>
                    </a:lnTo>
                    <a:lnTo>
                      <a:pt x="84" y="5"/>
                    </a:lnTo>
                    <a:lnTo>
                      <a:pt x="72" y="1"/>
                    </a:lnTo>
                    <a:lnTo>
                      <a:pt x="61" y="0"/>
                    </a:lnTo>
                    <a:lnTo>
                      <a:pt x="49" y="1"/>
                    </a:lnTo>
                    <a:lnTo>
                      <a:pt x="38" y="5"/>
                    </a:lnTo>
                    <a:lnTo>
                      <a:pt x="27" y="10"/>
                    </a:lnTo>
                    <a:lnTo>
                      <a:pt x="18" y="18"/>
                    </a:lnTo>
                    <a:lnTo>
                      <a:pt x="11" y="27"/>
                    </a:lnTo>
                    <a:lnTo>
                      <a:pt x="6" y="37"/>
                    </a:lnTo>
                    <a:lnTo>
                      <a:pt x="2" y="49"/>
                    </a:lnTo>
                    <a:lnTo>
                      <a:pt x="0" y="60"/>
                    </a:lnTo>
                    <a:lnTo>
                      <a:pt x="2" y="72"/>
                    </a:lnTo>
                    <a:lnTo>
                      <a:pt x="6" y="83"/>
                    </a:lnTo>
                    <a:lnTo>
                      <a:pt x="11" y="94"/>
                    </a:lnTo>
                    <a:lnTo>
                      <a:pt x="18" y="103"/>
                    </a:lnTo>
                    <a:lnTo>
                      <a:pt x="27" y="110"/>
                    </a:lnTo>
                    <a:lnTo>
                      <a:pt x="38" y="115"/>
                    </a:lnTo>
                    <a:lnTo>
                      <a:pt x="49" y="119"/>
                    </a:lnTo>
                    <a:lnTo>
                      <a:pt x="61" y="12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3583">
                <a:extLst>
                  <a:ext uri="{FF2B5EF4-FFF2-40B4-BE49-F238E27FC236}">
                    <a16:creationId xmlns:a16="http://schemas.microsoft.com/office/drawing/2014/main" id="{8DE0F7C9-75D8-4B35-8E69-53779F905A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133138" y="5368925"/>
                <a:ext cx="76200" cy="76200"/>
              </a:xfrm>
              <a:custGeom>
                <a:avLst/>
                <a:gdLst>
                  <a:gd name="T0" fmla="*/ 106 w 192"/>
                  <a:gd name="T1" fmla="*/ 191 h 193"/>
                  <a:gd name="T2" fmla="*/ 125 w 192"/>
                  <a:gd name="T3" fmla="*/ 187 h 193"/>
                  <a:gd name="T4" fmla="*/ 142 w 192"/>
                  <a:gd name="T5" fmla="*/ 181 h 193"/>
                  <a:gd name="T6" fmla="*/ 158 w 192"/>
                  <a:gd name="T7" fmla="*/ 171 h 193"/>
                  <a:gd name="T8" fmla="*/ 170 w 192"/>
                  <a:gd name="T9" fmla="*/ 158 h 193"/>
                  <a:gd name="T10" fmla="*/ 181 w 192"/>
                  <a:gd name="T11" fmla="*/ 143 h 193"/>
                  <a:gd name="T12" fmla="*/ 188 w 192"/>
                  <a:gd name="T13" fmla="*/ 125 h 193"/>
                  <a:gd name="T14" fmla="*/ 192 w 192"/>
                  <a:gd name="T15" fmla="*/ 107 h 193"/>
                  <a:gd name="T16" fmla="*/ 192 w 192"/>
                  <a:gd name="T17" fmla="*/ 86 h 193"/>
                  <a:gd name="T18" fmla="*/ 188 w 192"/>
                  <a:gd name="T19" fmla="*/ 68 h 193"/>
                  <a:gd name="T20" fmla="*/ 181 w 192"/>
                  <a:gd name="T21" fmla="*/ 50 h 193"/>
                  <a:gd name="T22" fmla="*/ 170 w 192"/>
                  <a:gd name="T23" fmla="*/ 35 h 193"/>
                  <a:gd name="T24" fmla="*/ 158 w 192"/>
                  <a:gd name="T25" fmla="*/ 22 h 193"/>
                  <a:gd name="T26" fmla="*/ 142 w 192"/>
                  <a:gd name="T27" fmla="*/ 12 h 193"/>
                  <a:gd name="T28" fmla="*/ 125 w 192"/>
                  <a:gd name="T29" fmla="*/ 5 h 193"/>
                  <a:gd name="T30" fmla="*/ 106 w 192"/>
                  <a:gd name="T31" fmla="*/ 1 h 193"/>
                  <a:gd name="T32" fmla="*/ 87 w 192"/>
                  <a:gd name="T33" fmla="*/ 1 h 193"/>
                  <a:gd name="T34" fmla="*/ 68 w 192"/>
                  <a:gd name="T35" fmla="*/ 5 h 193"/>
                  <a:gd name="T36" fmla="*/ 51 w 192"/>
                  <a:gd name="T37" fmla="*/ 12 h 193"/>
                  <a:gd name="T38" fmla="*/ 36 w 192"/>
                  <a:gd name="T39" fmla="*/ 22 h 193"/>
                  <a:gd name="T40" fmla="*/ 23 w 192"/>
                  <a:gd name="T41" fmla="*/ 35 h 193"/>
                  <a:gd name="T42" fmla="*/ 11 w 192"/>
                  <a:gd name="T43" fmla="*/ 50 h 193"/>
                  <a:gd name="T44" fmla="*/ 5 w 192"/>
                  <a:gd name="T45" fmla="*/ 68 h 193"/>
                  <a:gd name="T46" fmla="*/ 1 w 192"/>
                  <a:gd name="T47" fmla="*/ 86 h 193"/>
                  <a:gd name="T48" fmla="*/ 1 w 192"/>
                  <a:gd name="T49" fmla="*/ 107 h 193"/>
                  <a:gd name="T50" fmla="*/ 5 w 192"/>
                  <a:gd name="T51" fmla="*/ 125 h 193"/>
                  <a:gd name="T52" fmla="*/ 11 w 192"/>
                  <a:gd name="T53" fmla="*/ 143 h 193"/>
                  <a:gd name="T54" fmla="*/ 23 w 192"/>
                  <a:gd name="T55" fmla="*/ 158 h 193"/>
                  <a:gd name="T56" fmla="*/ 36 w 192"/>
                  <a:gd name="T57" fmla="*/ 171 h 193"/>
                  <a:gd name="T58" fmla="*/ 51 w 192"/>
                  <a:gd name="T59" fmla="*/ 181 h 193"/>
                  <a:gd name="T60" fmla="*/ 68 w 192"/>
                  <a:gd name="T61" fmla="*/ 187 h 193"/>
                  <a:gd name="T62" fmla="*/ 87 w 192"/>
                  <a:gd name="T63" fmla="*/ 191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92" h="193">
                    <a:moveTo>
                      <a:pt x="96" y="193"/>
                    </a:moveTo>
                    <a:lnTo>
                      <a:pt x="106" y="191"/>
                    </a:lnTo>
                    <a:lnTo>
                      <a:pt x="115" y="190"/>
                    </a:lnTo>
                    <a:lnTo>
                      <a:pt x="125" y="187"/>
                    </a:lnTo>
                    <a:lnTo>
                      <a:pt x="133" y="185"/>
                    </a:lnTo>
                    <a:lnTo>
                      <a:pt x="142" y="181"/>
                    </a:lnTo>
                    <a:lnTo>
                      <a:pt x="150" y="176"/>
                    </a:lnTo>
                    <a:lnTo>
                      <a:pt x="158" y="171"/>
                    </a:lnTo>
                    <a:lnTo>
                      <a:pt x="164" y="164"/>
                    </a:lnTo>
                    <a:lnTo>
                      <a:pt x="170" y="158"/>
                    </a:lnTo>
                    <a:lnTo>
                      <a:pt x="176" y="150"/>
                    </a:lnTo>
                    <a:lnTo>
                      <a:pt x="181" y="143"/>
                    </a:lnTo>
                    <a:lnTo>
                      <a:pt x="185" y="134"/>
                    </a:lnTo>
                    <a:lnTo>
                      <a:pt x="188" y="125"/>
                    </a:lnTo>
                    <a:lnTo>
                      <a:pt x="191" y="116"/>
                    </a:lnTo>
                    <a:lnTo>
                      <a:pt x="192" y="107"/>
                    </a:lnTo>
                    <a:lnTo>
                      <a:pt x="192" y="96"/>
                    </a:lnTo>
                    <a:lnTo>
                      <a:pt x="192" y="86"/>
                    </a:lnTo>
                    <a:lnTo>
                      <a:pt x="191" y="77"/>
                    </a:lnTo>
                    <a:lnTo>
                      <a:pt x="188" y="68"/>
                    </a:lnTo>
                    <a:lnTo>
                      <a:pt x="185" y="59"/>
                    </a:lnTo>
                    <a:lnTo>
                      <a:pt x="181" y="50"/>
                    </a:lnTo>
                    <a:lnTo>
                      <a:pt x="176" y="42"/>
                    </a:lnTo>
                    <a:lnTo>
                      <a:pt x="170" y="35"/>
                    </a:lnTo>
                    <a:lnTo>
                      <a:pt x="164" y="28"/>
                    </a:lnTo>
                    <a:lnTo>
                      <a:pt x="158" y="22"/>
                    </a:lnTo>
                    <a:lnTo>
                      <a:pt x="150" y="17"/>
                    </a:lnTo>
                    <a:lnTo>
                      <a:pt x="142" y="12"/>
                    </a:lnTo>
                    <a:lnTo>
                      <a:pt x="133" y="8"/>
                    </a:lnTo>
                    <a:lnTo>
                      <a:pt x="125" y="5"/>
                    </a:lnTo>
                    <a:lnTo>
                      <a:pt x="115" y="3"/>
                    </a:lnTo>
                    <a:lnTo>
                      <a:pt x="106" y="1"/>
                    </a:lnTo>
                    <a:lnTo>
                      <a:pt x="96" y="0"/>
                    </a:lnTo>
                    <a:lnTo>
                      <a:pt x="87" y="1"/>
                    </a:lnTo>
                    <a:lnTo>
                      <a:pt x="77" y="3"/>
                    </a:lnTo>
                    <a:lnTo>
                      <a:pt x="68" y="5"/>
                    </a:lnTo>
                    <a:lnTo>
                      <a:pt x="59" y="8"/>
                    </a:lnTo>
                    <a:lnTo>
                      <a:pt x="51" y="12"/>
                    </a:lnTo>
                    <a:lnTo>
                      <a:pt x="42" y="17"/>
                    </a:lnTo>
                    <a:lnTo>
                      <a:pt x="36" y="22"/>
                    </a:lnTo>
                    <a:lnTo>
                      <a:pt x="28" y="28"/>
                    </a:lnTo>
                    <a:lnTo>
                      <a:pt x="23" y="35"/>
                    </a:lnTo>
                    <a:lnTo>
                      <a:pt x="16" y="42"/>
                    </a:lnTo>
                    <a:lnTo>
                      <a:pt x="11" y="50"/>
                    </a:lnTo>
                    <a:lnTo>
                      <a:pt x="7" y="59"/>
                    </a:lnTo>
                    <a:lnTo>
                      <a:pt x="5" y="68"/>
                    </a:lnTo>
                    <a:lnTo>
                      <a:pt x="2" y="77"/>
                    </a:lnTo>
                    <a:lnTo>
                      <a:pt x="1" y="86"/>
                    </a:lnTo>
                    <a:lnTo>
                      <a:pt x="0" y="96"/>
                    </a:lnTo>
                    <a:lnTo>
                      <a:pt x="1" y="107"/>
                    </a:lnTo>
                    <a:lnTo>
                      <a:pt x="2" y="116"/>
                    </a:lnTo>
                    <a:lnTo>
                      <a:pt x="5" y="125"/>
                    </a:lnTo>
                    <a:lnTo>
                      <a:pt x="7" y="134"/>
                    </a:lnTo>
                    <a:lnTo>
                      <a:pt x="11" y="143"/>
                    </a:lnTo>
                    <a:lnTo>
                      <a:pt x="16" y="150"/>
                    </a:lnTo>
                    <a:lnTo>
                      <a:pt x="23" y="158"/>
                    </a:lnTo>
                    <a:lnTo>
                      <a:pt x="28" y="164"/>
                    </a:lnTo>
                    <a:lnTo>
                      <a:pt x="36" y="171"/>
                    </a:lnTo>
                    <a:lnTo>
                      <a:pt x="42" y="176"/>
                    </a:lnTo>
                    <a:lnTo>
                      <a:pt x="51" y="181"/>
                    </a:lnTo>
                    <a:lnTo>
                      <a:pt x="59" y="185"/>
                    </a:lnTo>
                    <a:lnTo>
                      <a:pt x="68" y="187"/>
                    </a:lnTo>
                    <a:lnTo>
                      <a:pt x="77" y="190"/>
                    </a:lnTo>
                    <a:lnTo>
                      <a:pt x="87" y="191"/>
                    </a:lnTo>
                    <a:lnTo>
                      <a:pt x="96" y="19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E5357FCF-9D54-4EF7-8310-D36EA654D99F}"/>
                </a:ext>
              </a:extLst>
            </p:cNvPr>
            <p:cNvGrpSpPr/>
            <p:nvPr/>
          </p:nvGrpSpPr>
          <p:grpSpPr>
            <a:xfrm>
              <a:off x="4519145" y="4236595"/>
              <a:ext cx="344746" cy="310460"/>
              <a:chOff x="879475" y="817563"/>
              <a:chExt cx="287338" cy="258762"/>
            </a:xfrm>
            <a:solidFill>
              <a:schemeClr val="bg1"/>
            </a:solidFill>
          </p:grpSpPr>
          <p:sp>
            <p:nvSpPr>
              <p:cNvPr id="63" name="Freeform 1593">
                <a:extLst>
                  <a:ext uri="{FF2B5EF4-FFF2-40B4-BE49-F238E27FC236}">
                    <a16:creationId xmlns:a16="http://schemas.microsoft.com/office/drawing/2014/main" id="{734D7DA9-308E-41BC-B6B9-FE6171DCF9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9475" y="817563"/>
                <a:ext cx="287338" cy="171450"/>
              </a:xfrm>
              <a:custGeom>
                <a:avLst/>
                <a:gdLst>
                  <a:gd name="T0" fmla="*/ 829 w 904"/>
                  <a:gd name="T1" fmla="*/ 0 h 544"/>
                  <a:gd name="T2" fmla="*/ 75 w 904"/>
                  <a:gd name="T3" fmla="*/ 0 h 544"/>
                  <a:gd name="T4" fmla="*/ 67 w 904"/>
                  <a:gd name="T5" fmla="*/ 2 h 544"/>
                  <a:gd name="T6" fmla="*/ 59 w 904"/>
                  <a:gd name="T7" fmla="*/ 3 h 544"/>
                  <a:gd name="T8" fmla="*/ 53 w 904"/>
                  <a:gd name="T9" fmla="*/ 4 h 544"/>
                  <a:gd name="T10" fmla="*/ 46 w 904"/>
                  <a:gd name="T11" fmla="*/ 7 h 544"/>
                  <a:gd name="T12" fmla="*/ 40 w 904"/>
                  <a:gd name="T13" fmla="*/ 10 h 544"/>
                  <a:gd name="T14" fmla="*/ 33 w 904"/>
                  <a:gd name="T15" fmla="*/ 14 h 544"/>
                  <a:gd name="T16" fmla="*/ 27 w 904"/>
                  <a:gd name="T17" fmla="*/ 18 h 544"/>
                  <a:gd name="T18" fmla="*/ 22 w 904"/>
                  <a:gd name="T19" fmla="*/ 23 h 544"/>
                  <a:gd name="T20" fmla="*/ 16 w 904"/>
                  <a:gd name="T21" fmla="*/ 28 h 544"/>
                  <a:gd name="T22" fmla="*/ 12 w 904"/>
                  <a:gd name="T23" fmla="*/ 34 h 544"/>
                  <a:gd name="T24" fmla="*/ 9 w 904"/>
                  <a:gd name="T25" fmla="*/ 40 h 544"/>
                  <a:gd name="T26" fmla="*/ 5 w 904"/>
                  <a:gd name="T27" fmla="*/ 47 h 544"/>
                  <a:gd name="T28" fmla="*/ 3 w 904"/>
                  <a:gd name="T29" fmla="*/ 54 h 544"/>
                  <a:gd name="T30" fmla="*/ 1 w 904"/>
                  <a:gd name="T31" fmla="*/ 61 h 544"/>
                  <a:gd name="T32" fmla="*/ 0 w 904"/>
                  <a:gd name="T33" fmla="*/ 69 h 544"/>
                  <a:gd name="T34" fmla="*/ 0 w 904"/>
                  <a:gd name="T35" fmla="*/ 77 h 544"/>
                  <a:gd name="T36" fmla="*/ 0 w 904"/>
                  <a:gd name="T37" fmla="*/ 544 h 544"/>
                  <a:gd name="T38" fmla="*/ 904 w 904"/>
                  <a:gd name="T39" fmla="*/ 544 h 544"/>
                  <a:gd name="T40" fmla="*/ 904 w 904"/>
                  <a:gd name="T41" fmla="*/ 77 h 544"/>
                  <a:gd name="T42" fmla="*/ 904 w 904"/>
                  <a:gd name="T43" fmla="*/ 69 h 544"/>
                  <a:gd name="T44" fmla="*/ 903 w 904"/>
                  <a:gd name="T45" fmla="*/ 61 h 544"/>
                  <a:gd name="T46" fmla="*/ 901 w 904"/>
                  <a:gd name="T47" fmla="*/ 54 h 544"/>
                  <a:gd name="T48" fmla="*/ 899 w 904"/>
                  <a:gd name="T49" fmla="*/ 47 h 544"/>
                  <a:gd name="T50" fmla="*/ 896 w 904"/>
                  <a:gd name="T51" fmla="*/ 40 h 544"/>
                  <a:gd name="T52" fmla="*/ 892 w 904"/>
                  <a:gd name="T53" fmla="*/ 34 h 544"/>
                  <a:gd name="T54" fmla="*/ 888 w 904"/>
                  <a:gd name="T55" fmla="*/ 28 h 544"/>
                  <a:gd name="T56" fmla="*/ 882 w 904"/>
                  <a:gd name="T57" fmla="*/ 23 h 544"/>
                  <a:gd name="T58" fmla="*/ 877 w 904"/>
                  <a:gd name="T59" fmla="*/ 18 h 544"/>
                  <a:gd name="T60" fmla="*/ 871 w 904"/>
                  <a:gd name="T61" fmla="*/ 14 h 544"/>
                  <a:gd name="T62" fmla="*/ 866 w 904"/>
                  <a:gd name="T63" fmla="*/ 10 h 544"/>
                  <a:gd name="T64" fmla="*/ 859 w 904"/>
                  <a:gd name="T65" fmla="*/ 7 h 544"/>
                  <a:gd name="T66" fmla="*/ 851 w 904"/>
                  <a:gd name="T67" fmla="*/ 4 h 544"/>
                  <a:gd name="T68" fmla="*/ 845 w 904"/>
                  <a:gd name="T69" fmla="*/ 3 h 544"/>
                  <a:gd name="T70" fmla="*/ 837 w 904"/>
                  <a:gd name="T71" fmla="*/ 2 h 544"/>
                  <a:gd name="T72" fmla="*/ 829 w 904"/>
                  <a:gd name="T73" fmla="*/ 0 h 5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904" h="544">
                    <a:moveTo>
                      <a:pt x="829" y="0"/>
                    </a:moveTo>
                    <a:lnTo>
                      <a:pt x="75" y="0"/>
                    </a:lnTo>
                    <a:lnTo>
                      <a:pt x="67" y="2"/>
                    </a:lnTo>
                    <a:lnTo>
                      <a:pt x="59" y="3"/>
                    </a:lnTo>
                    <a:lnTo>
                      <a:pt x="53" y="4"/>
                    </a:lnTo>
                    <a:lnTo>
                      <a:pt x="46" y="7"/>
                    </a:lnTo>
                    <a:lnTo>
                      <a:pt x="40" y="10"/>
                    </a:lnTo>
                    <a:lnTo>
                      <a:pt x="33" y="14"/>
                    </a:lnTo>
                    <a:lnTo>
                      <a:pt x="27" y="18"/>
                    </a:lnTo>
                    <a:lnTo>
                      <a:pt x="22" y="23"/>
                    </a:lnTo>
                    <a:lnTo>
                      <a:pt x="16" y="28"/>
                    </a:lnTo>
                    <a:lnTo>
                      <a:pt x="12" y="34"/>
                    </a:lnTo>
                    <a:lnTo>
                      <a:pt x="9" y="40"/>
                    </a:lnTo>
                    <a:lnTo>
                      <a:pt x="5" y="47"/>
                    </a:lnTo>
                    <a:lnTo>
                      <a:pt x="3" y="54"/>
                    </a:lnTo>
                    <a:lnTo>
                      <a:pt x="1" y="61"/>
                    </a:lnTo>
                    <a:lnTo>
                      <a:pt x="0" y="69"/>
                    </a:lnTo>
                    <a:lnTo>
                      <a:pt x="0" y="77"/>
                    </a:lnTo>
                    <a:lnTo>
                      <a:pt x="0" y="544"/>
                    </a:lnTo>
                    <a:lnTo>
                      <a:pt x="904" y="544"/>
                    </a:lnTo>
                    <a:lnTo>
                      <a:pt x="904" y="77"/>
                    </a:lnTo>
                    <a:lnTo>
                      <a:pt x="904" y="69"/>
                    </a:lnTo>
                    <a:lnTo>
                      <a:pt x="903" y="61"/>
                    </a:lnTo>
                    <a:lnTo>
                      <a:pt x="901" y="54"/>
                    </a:lnTo>
                    <a:lnTo>
                      <a:pt x="899" y="47"/>
                    </a:lnTo>
                    <a:lnTo>
                      <a:pt x="896" y="40"/>
                    </a:lnTo>
                    <a:lnTo>
                      <a:pt x="892" y="34"/>
                    </a:lnTo>
                    <a:lnTo>
                      <a:pt x="888" y="28"/>
                    </a:lnTo>
                    <a:lnTo>
                      <a:pt x="882" y="23"/>
                    </a:lnTo>
                    <a:lnTo>
                      <a:pt x="877" y="18"/>
                    </a:lnTo>
                    <a:lnTo>
                      <a:pt x="871" y="14"/>
                    </a:lnTo>
                    <a:lnTo>
                      <a:pt x="866" y="10"/>
                    </a:lnTo>
                    <a:lnTo>
                      <a:pt x="859" y="7"/>
                    </a:lnTo>
                    <a:lnTo>
                      <a:pt x="851" y="4"/>
                    </a:lnTo>
                    <a:lnTo>
                      <a:pt x="845" y="3"/>
                    </a:lnTo>
                    <a:lnTo>
                      <a:pt x="837" y="2"/>
                    </a:lnTo>
                    <a:lnTo>
                      <a:pt x="829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1594">
                <a:extLst>
                  <a:ext uri="{FF2B5EF4-FFF2-40B4-BE49-F238E27FC236}">
                    <a16:creationId xmlns:a16="http://schemas.microsoft.com/office/drawing/2014/main" id="{F3B4DEF4-E624-46F8-830E-6D50F675113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79475" y="1000125"/>
                <a:ext cx="287338" cy="76200"/>
              </a:xfrm>
              <a:custGeom>
                <a:avLst/>
                <a:gdLst>
                  <a:gd name="T0" fmla="*/ 459 w 904"/>
                  <a:gd name="T1" fmla="*/ 29 h 241"/>
                  <a:gd name="T2" fmla="*/ 469 w 904"/>
                  <a:gd name="T3" fmla="*/ 35 h 241"/>
                  <a:gd name="T4" fmla="*/ 478 w 904"/>
                  <a:gd name="T5" fmla="*/ 43 h 241"/>
                  <a:gd name="T6" fmla="*/ 482 w 904"/>
                  <a:gd name="T7" fmla="*/ 54 h 241"/>
                  <a:gd name="T8" fmla="*/ 482 w 904"/>
                  <a:gd name="T9" fmla="*/ 66 h 241"/>
                  <a:gd name="T10" fmla="*/ 478 w 904"/>
                  <a:gd name="T11" fmla="*/ 77 h 241"/>
                  <a:gd name="T12" fmla="*/ 469 w 904"/>
                  <a:gd name="T13" fmla="*/ 85 h 241"/>
                  <a:gd name="T14" fmla="*/ 459 w 904"/>
                  <a:gd name="T15" fmla="*/ 89 h 241"/>
                  <a:gd name="T16" fmla="*/ 447 w 904"/>
                  <a:gd name="T17" fmla="*/ 89 h 241"/>
                  <a:gd name="T18" fmla="*/ 436 w 904"/>
                  <a:gd name="T19" fmla="*/ 85 h 241"/>
                  <a:gd name="T20" fmla="*/ 427 w 904"/>
                  <a:gd name="T21" fmla="*/ 77 h 241"/>
                  <a:gd name="T22" fmla="*/ 422 w 904"/>
                  <a:gd name="T23" fmla="*/ 66 h 241"/>
                  <a:gd name="T24" fmla="*/ 422 w 904"/>
                  <a:gd name="T25" fmla="*/ 54 h 241"/>
                  <a:gd name="T26" fmla="*/ 427 w 904"/>
                  <a:gd name="T27" fmla="*/ 43 h 241"/>
                  <a:gd name="T28" fmla="*/ 436 w 904"/>
                  <a:gd name="T29" fmla="*/ 35 h 241"/>
                  <a:gd name="T30" fmla="*/ 447 w 904"/>
                  <a:gd name="T31" fmla="*/ 31 h 241"/>
                  <a:gd name="T32" fmla="*/ 452 w 904"/>
                  <a:gd name="T33" fmla="*/ 29 h 241"/>
                  <a:gd name="T34" fmla="*/ 0 w 904"/>
                  <a:gd name="T35" fmla="*/ 83 h 241"/>
                  <a:gd name="T36" fmla="*/ 3 w 904"/>
                  <a:gd name="T37" fmla="*/ 97 h 241"/>
                  <a:gd name="T38" fmla="*/ 9 w 904"/>
                  <a:gd name="T39" fmla="*/ 110 h 241"/>
                  <a:gd name="T40" fmla="*/ 16 w 904"/>
                  <a:gd name="T41" fmla="*/ 122 h 241"/>
                  <a:gd name="T42" fmla="*/ 27 w 904"/>
                  <a:gd name="T43" fmla="*/ 132 h 241"/>
                  <a:gd name="T44" fmla="*/ 40 w 904"/>
                  <a:gd name="T45" fmla="*/ 141 h 241"/>
                  <a:gd name="T46" fmla="*/ 53 w 904"/>
                  <a:gd name="T47" fmla="*/ 147 h 241"/>
                  <a:gd name="T48" fmla="*/ 67 w 904"/>
                  <a:gd name="T49" fmla="*/ 150 h 241"/>
                  <a:gd name="T50" fmla="*/ 437 w 904"/>
                  <a:gd name="T51" fmla="*/ 150 h 241"/>
                  <a:gd name="T52" fmla="*/ 195 w 904"/>
                  <a:gd name="T53" fmla="*/ 211 h 241"/>
                  <a:gd name="T54" fmla="*/ 190 w 904"/>
                  <a:gd name="T55" fmla="*/ 212 h 241"/>
                  <a:gd name="T56" fmla="*/ 186 w 904"/>
                  <a:gd name="T57" fmla="*/ 215 h 241"/>
                  <a:gd name="T58" fmla="*/ 182 w 904"/>
                  <a:gd name="T59" fmla="*/ 220 h 241"/>
                  <a:gd name="T60" fmla="*/ 181 w 904"/>
                  <a:gd name="T61" fmla="*/ 225 h 241"/>
                  <a:gd name="T62" fmla="*/ 182 w 904"/>
                  <a:gd name="T63" fmla="*/ 232 h 241"/>
                  <a:gd name="T64" fmla="*/ 186 w 904"/>
                  <a:gd name="T65" fmla="*/ 236 h 241"/>
                  <a:gd name="T66" fmla="*/ 190 w 904"/>
                  <a:gd name="T67" fmla="*/ 240 h 241"/>
                  <a:gd name="T68" fmla="*/ 195 w 904"/>
                  <a:gd name="T69" fmla="*/ 241 h 241"/>
                  <a:gd name="T70" fmla="*/ 742 w 904"/>
                  <a:gd name="T71" fmla="*/ 241 h 241"/>
                  <a:gd name="T72" fmla="*/ 747 w 904"/>
                  <a:gd name="T73" fmla="*/ 239 h 241"/>
                  <a:gd name="T74" fmla="*/ 752 w 904"/>
                  <a:gd name="T75" fmla="*/ 234 h 241"/>
                  <a:gd name="T76" fmla="*/ 754 w 904"/>
                  <a:gd name="T77" fmla="*/ 229 h 241"/>
                  <a:gd name="T78" fmla="*/ 754 w 904"/>
                  <a:gd name="T79" fmla="*/ 223 h 241"/>
                  <a:gd name="T80" fmla="*/ 752 w 904"/>
                  <a:gd name="T81" fmla="*/ 218 h 241"/>
                  <a:gd name="T82" fmla="*/ 747 w 904"/>
                  <a:gd name="T83" fmla="*/ 213 h 241"/>
                  <a:gd name="T84" fmla="*/ 742 w 904"/>
                  <a:gd name="T85" fmla="*/ 211 h 241"/>
                  <a:gd name="T86" fmla="*/ 468 w 904"/>
                  <a:gd name="T87" fmla="*/ 211 h 241"/>
                  <a:gd name="T88" fmla="*/ 829 w 904"/>
                  <a:gd name="T89" fmla="*/ 150 h 241"/>
                  <a:gd name="T90" fmla="*/ 845 w 904"/>
                  <a:gd name="T91" fmla="*/ 149 h 241"/>
                  <a:gd name="T92" fmla="*/ 859 w 904"/>
                  <a:gd name="T93" fmla="*/ 145 h 241"/>
                  <a:gd name="T94" fmla="*/ 871 w 904"/>
                  <a:gd name="T95" fmla="*/ 137 h 241"/>
                  <a:gd name="T96" fmla="*/ 882 w 904"/>
                  <a:gd name="T97" fmla="*/ 128 h 241"/>
                  <a:gd name="T98" fmla="*/ 892 w 904"/>
                  <a:gd name="T99" fmla="*/ 117 h 241"/>
                  <a:gd name="T100" fmla="*/ 899 w 904"/>
                  <a:gd name="T101" fmla="*/ 104 h 241"/>
                  <a:gd name="T102" fmla="*/ 903 w 904"/>
                  <a:gd name="T103" fmla="*/ 90 h 241"/>
                  <a:gd name="T104" fmla="*/ 904 w 904"/>
                  <a:gd name="T105" fmla="*/ 75 h 241"/>
                  <a:gd name="T106" fmla="*/ 0 w 904"/>
                  <a:gd name="T107" fmla="*/ 0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904" h="241">
                    <a:moveTo>
                      <a:pt x="452" y="29"/>
                    </a:moveTo>
                    <a:lnTo>
                      <a:pt x="459" y="29"/>
                    </a:lnTo>
                    <a:lnTo>
                      <a:pt x="464" y="32"/>
                    </a:lnTo>
                    <a:lnTo>
                      <a:pt x="469" y="35"/>
                    </a:lnTo>
                    <a:lnTo>
                      <a:pt x="473" y="38"/>
                    </a:lnTo>
                    <a:lnTo>
                      <a:pt x="478" y="43"/>
                    </a:lnTo>
                    <a:lnTo>
                      <a:pt x="480" y="48"/>
                    </a:lnTo>
                    <a:lnTo>
                      <a:pt x="482" y="54"/>
                    </a:lnTo>
                    <a:lnTo>
                      <a:pt x="482" y="59"/>
                    </a:lnTo>
                    <a:lnTo>
                      <a:pt x="482" y="66"/>
                    </a:lnTo>
                    <a:lnTo>
                      <a:pt x="480" y="71"/>
                    </a:lnTo>
                    <a:lnTo>
                      <a:pt x="478" y="77"/>
                    </a:lnTo>
                    <a:lnTo>
                      <a:pt x="473" y="81"/>
                    </a:lnTo>
                    <a:lnTo>
                      <a:pt x="469" y="85"/>
                    </a:lnTo>
                    <a:lnTo>
                      <a:pt x="464" y="87"/>
                    </a:lnTo>
                    <a:lnTo>
                      <a:pt x="459" y="89"/>
                    </a:lnTo>
                    <a:lnTo>
                      <a:pt x="452" y="90"/>
                    </a:lnTo>
                    <a:lnTo>
                      <a:pt x="447" y="89"/>
                    </a:lnTo>
                    <a:lnTo>
                      <a:pt x="440" y="87"/>
                    </a:lnTo>
                    <a:lnTo>
                      <a:pt x="436" y="85"/>
                    </a:lnTo>
                    <a:lnTo>
                      <a:pt x="431" y="81"/>
                    </a:lnTo>
                    <a:lnTo>
                      <a:pt x="427" y="77"/>
                    </a:lnTo>
                    <a:lnTo>
                      <a:pt x="424" y="71"/>
                    </a:lnTo>
                    <a:lnTo>
                      <a:pt x="422" y="66"/>
                    </a:lnTo>
                    <a:lnTo>
                      <a:pt x="422" y="59"/>
                    </a:lnTo>
                    <a:lnTo>
                      <a:pt x="422" y="54"/>
                    </a:lnTo>
                    <a:lnTo>
                      <a:pt x="424" y="48"/>
                    </a:lnTo>
                    <a:lnTo>
                      <a:pt x="427" y="43"/>
                    </a:lnTo>
                    <a:lnTo>
                      <a:pt x="431" y="38"/>
                    </a:lnTo>
                    <a:lnTo>
                      <a:pt x="436" y="35"/>
                    </a:lnTo>
                    <a:lnTo>
                      <a:pt x="440" y="32"/>
                    </a:lnTo>
                    <a:lnTo>
                      <a:pt x="447" y="31"/>
                    </a:lnTo>
                    <a:lnTo>
                      <a:pt x="452" y="29"/>
                    </a:lnTo>
                    <a:lnTo>
                      <a:pt x="452" y="29"/>
                    </a:lnTo>
                    <a:close/>
                    <a:moveTo>
                      <a:pt x="0" y="75"/>
                    </a:moveTo>
                    <a:lnTo>
                      <a:pt x="0" y="83"/>
                    </a:lnTo>
                    <a:lnTo>
                      <a:pt x="1" y="90"/>
                    </a:lnTo>
                    <a:lnTo>
                      <a:pt x="3" y="97"/>
                    </a:lnTo>
                    <a:lnTo>
                      <a:pt x="5" y="104"/>
                    </a:lnTo>
                    <a:lnTo>
                      <a:pt x="9" y="110"/>
                    </a:lnTo>
                    <a:lnTo>
                      <a:pt x="12" y="117"/>
                    </a:lnTo>
                    <a:lnTo>
                      <a:pt x="16" y="122"/>
                    </a:lnTo>
                    <a:lnTo>
                      <a:pt x="22" y="128"/>
                    </a:lnTo>
                    <a:lnTo>
                      <a:pt x="27" y="132"/>
                    </a:lnTo>
                    <a:lnTo>
                      <a:pt x="33" y="137"/>
                    </a:lnTo>
                    <a:lnTo>
                      <a:pt x="40" y="141"/>
                    </a:lnTo>
                    <a:lnTo>
                      <a:pt x="46" y="145"/>
                    </a:lnTo>
                    <a:lnTo>
                      <a:pt x="53" y="147"/>
                    </a:lnTo>
                    <a:lnTo>
                      <a:pt x="59" y="149"/>
                    </a:lnTo>
                    <a:lnTo>
                      <a:pt x="67" y="150"/>
                    </a:lnTo>
                    <a:lnTo>
                      <a:pt x="75" y="150"/>
                    </a:lnTo>
                    <a:lnTo>
                      <a:pt x="437" y="150"/>
                    </a:lnTo>
                    <a:lnTo>
                      <a:pt x="437" y="211"/>
                    </a:lnTo>
                    <a:lnTo>
                      <a:pt x="195" y="211"/>
                    </a:lnTo>
                    <a:lnTo>
                      <a:pt x="192" y="211"/>
                    </a:lnTo>
                    <a:lnTo>
                      <a:pt x="190" y="212"/>
                    </a:lnTo>
                    <a:lnTo>
                      <a:pt x="188" y="213"/>
                    </a:lnTo>
                    <a:lnTo>
                      <a:pt x="186" y="215"/>
                    </a:lnTo>
                    <a:lnTo>
                      <a:pt x="183" y="218"/>
                    </a:lnTo>
                    <a:lnTo>
                      <a:pt x="182" y="220"/>
                    </a:lnTo>
                    <a:lnTo>
                      <a:pt x="181" y="223"/>
                    </a:lnTo>
                    <a:lnTo>
                      <a:pt x="181" y="225"/>
                    </a:lnTo>
                    <a:lnTo>
                      <a:pt x="181" y="229"/>
                    </a:lnTo>
                    <a:lnTo>
                      <a:pt x="182" y="232"/>
                    </a:lnTo>
                    <a:lnTo>
                      <a:pt x="183" y="234"/>
                    </a:lnTo>
                    <a:lnTo>
                      <a:pt x="186" y="236"/>
                    </a:lnTo>
                    <a:lnTo>
                      <a:pt x="188" y="239"/>
                    </a:lnTo>
                    <a:lnTo>
                      <a:pt x="190" y="240"/>
                    </a:lnTo>
                    <a:lnTo>
                      <a:pt x="192" y="241"/>
                    </a:lnTo>
                    <a:lnTo>
                      <a:pt x="195" y="241"/>
                    </a:lnTo>
                    <a:lnTo>
                      <a:pt x="739" y="241"/>
                    </a:lnTo>
                    <a:lnTo>
                      <a:pt x="742" y="241"/>
                    </a:lnTo>
                    <a:lnTo>
                      <a:pt x="745" y="240"/>
                    </a:lnTo>
                    <a:lnTo>
                      <a:pt x="747" y="239"/>
                    </a:lnTo>
                    <a:lnTo>
                      <a:pt x="750" y="236"/>
                    </a:lnTo>
                    <a:lnTo>
                      <a:pt x="752" y="234"/>
                    </a:lnTo>
                    <a:lnTo>
                      <a:pt x="753" y="232"/>
                    </a:lnTo>
                    <a:lnTo>
                      <a:pt x="754" y="229"/>
                    </a:lnTo>
                    <a:lnTo>
                      <a:pt x="754" y="225"/>
                    </a:lnTo>
                    <a:lnTo>
                      <a:pt x="754" y="223"/>
                    </a:lnTo>
                    <a:lnTo>
                      <a:pt x="753" y="220"/>
                    </a:lnTo>
                    <a:lnTo>
                      <a:pt x="752" y="218"/>
                    </a:lnTo>
                    <a:lnTo>
                      <a:pt x="750" y="215"/>
                    </a:lnTo>
                    <a:lnTo>
                      <a:pt x="747" y="213"/>
                    </a:lnTo>
                    <a:lnTo>
                      <a:pt x="745" y="212"/>
                    </a:lnTo>
                    <a:lnTo>
                      <a:pt x="742" y="211"/>
                    </a:lnTo>
                    <a:lnTo>
                      <a:pt x="739" y="211"/>
                    </a:lnTo>
                    <a:lnTo>
                      <a:pt x="468" y="211"/>
                    </a:lnTo>
                    <a:lnTo>
                      <a:pt x="468" y="150"/>
                    </a:lnTo>
                    <a:lnTo>
                      <a:pt x="829" y="150"/>
                    </a:lnTo>
                    <a:lnTo>
                      <a:pt x="837" y="150"/>
                    </a:lnTo>
                    <a:lnTo>
                      <a:pt x="845" y="149"/>
                    </a:lnTo>
                    <a:lnTo>
                      <a:pt x="851" y="147"/>
                    </a:lnTo>
                    <a:lnTo>
                      <a:pt x="859" y="145"/>
                    </a:lnTo>
                    <a:lnTo>
                      <a:pt x="866" y="141"/>
                    </a:lnTo>
                    <a:lnTo>
                      <a:pt x="871" y="137"/>
                    </a:lnTo>
                    <a:lnTo>
                      <a:pt x="877" y="132"/>
                    </a:lnTo>
                    <a:lnTo>
                      <a:pt x="882" y="128"/>
                    </a:lnTo>
                    <a:lnTo>
                      <a:pt x="888" y="122"/>
                    </a:lnTo>
                    <a:lnTo>
                      <a:pt x="892" y="117"/>
                    </a:lnTo>
                    <a:lnTo>
                      <a:pt x="896" y="110"/>
                    </a:lnTo>
                    <a:lnTo>
                      <a:pt x="899" y="104"/>
                    </a:lnTo>
                    <a:lnTo>
                      <a:pt x="901" y="97"/>
                    </a:lnTo>
                    <a:lnTo>
                      <a:pt x="903" y="90"/>
                    </a:lnTo>
                    <a:lnTo>
                      <a:pt x="904" y="83"/>
                    </a:lnTo>
                    <a:lnTo>
                      <a:pt x="904" y="75"/>
                    </a:lnTo>
                    <a:lnTo>
                      <a:pt x="904" y="0"/>
                    </a:lnTo>
                    <a:lnTo>
                      <a:pt x="0" y="0"/>
                    </a:lnTo>
                    <a:lnTo>
                      <a:pt x="0" y="7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0285111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9DFF9D8D-381E-4AB5-A05F-86D86CF2A953}"/>
              </a:ext>
            </a:extLst>
          </p:cNvPr>
          <p:cNvSpPr/>
          <p:nvPr/>
        </p:nvSpPr>
        <p:spPr>
          <a:xfrm>
            <a:off x="-145143" y="632389"/>
            <a:ext cx="12482286" cy="6089086"/>
          </a:xfrm>
          <a:custGeom>
            <a:avLst/>
            <a:gdLst>
              <a:gd name="connsiteX0" fmla="*/ 0 w 11582400"/>
              <a:gd name="connsiteY0" fmla="*/ 0 h 6073775"/>
              <a:gd name="connsiteX1" fmla="*/ 11582400 w 11582400"/>
              <a:gd name="connsiteY1" fmla="*/ 0 h 6073775"/>
              <a:gd name="connsiteX2" fmla="*/ 11582400 w 11582400"/>
              <a:gd name="connsiteY2" fmla="*/ 6073775 h 6073775"/>
              <a:gd name="connsiteX3" fmla="*/ 0 w 11582400"/>
              <a:gd name="connsiteY3" fmla="*/ 6073775 h 6073775"/>
              <a:gd name="connsiteX4" fmla="*/ 0 w 11582400"/>
              <a:gd name="connsiteY4" fmla="*/ 0 h 6073775"/>
              <a:gd name="connsiteX0" fmla="*/ 0 w 11582400"/>
              <a:gd name="connsiteY0" fmla="*/ 6765 h 6080540"/>
              <a:gd name="connsiteX1" fmla="*/ 8309361 w 11582400"/>
              <a:gd name="connsiteY1" fmla="*/ 0 h 6080540"/>
              <a:gd name="connsiteX2" fmla="*/ 11582400 w 11582400"/>
              <a:gd name="connsiteY2" fmla="*/ 6765 h 6080540"/>
              <a:gd name="connsiteX3" fmla="*/ 11582400 w 11582400"/>
              <a:gd name="connsiteY3" fmla="*/ 6080540 h 6080540"/>
              <a:gd name="connsiteX4" fmla="*/ 0 w 11582400"/>
              <a:gd name="connsiteY4" fmla="*/ 6080540 h 6080540"/>
              <a:gd name="connsiteX5" fmla="*/ 0 w 11582400"/>
              <a:gd name="connsiteY5" fmla="*/ 6765 h 6080540"/>
              <a:gd name="connsiteX0" fmla="*/ 0 w 11582400"/>
              <a:gd name="connsiteY0" fmla="*/ 15311 h 6089086"/>
              <a:gd name="connsiteX1" fmla="*/ 3267342 w 11582400"/>
              <a:gd name="connsiteY1" fmla="*/ 0 h 6089086"/>
              <a:gd name="connsiteX2" fmla="*/ 8309361 w 11582400"/>
              <a:gd name="connsiteY2" fmla="*/ 8546 h 6089086"/>
              <a:gd name="connsiteX3" fmla="*/ 11582400 w 11582400"/>
              <a:gd name="connsiteY3" fmla="*/ 15311 h 6089086"/>
              <a:gd name="connsiteX4" fmla="*/ 11582400 w 11582400"/>
              <a:gd name="connsiteY4" fmla="*/ 6089086 h 6089086"/>
              <a:gd name="connsiteX5" fmla="*/ 0 w 11582400"/>
              <a:gd name="connsiteY5" fmla="*/ 6089086 h 6089086"/>
              <a:gd name="connsiteX6" fmla="*/ 0 w 11582400"/>
              <a:gd name="connsiteY6" fmla="*/ 15311 h 6089086"/>
              <a:gd name="connsiteX0" fmla="*/ 0 w 11582400"/>
              <a:gd name="connsiteY0" fmla="*/ 23857 h 6097632"/>
              <a:gd name="connsiteX1" fmla="*/ 3267342 w 11582400"/>
              <a:gd name="connsiteY1" fmla="*/ 8546 h 6097632"/>
              <a:gd name="connsiteX2" fmla="*/ 5386699 w 11582400"/>
              <a:gd name="connsiteY2" fmla="*/ 0 h 6097632"/>
              <a:gd name="connsiteX3" fmla="*/ 8309361 w 11582400"/>
              <a:gd name="connsiteY3" fmla="*/ 17092 h 6097632"/>
              <a:gd name="connsiteX4" fmla="*/ 11582400 w 11582400"/>
              <a:gd name="connsiteY4" fmla="*/ 23857 h 6097632"/>
              <a:gd name="connsiteX5" fmla="*/ 11582400 w 11582400"/>
              <a:gd name="connsiteY5" fmla="*/ 6097632 h 6097632"/>
              <a:gd name="connsiteX6" fmla="*/ 0 w 11582400"/>
              <a:gd name="connsiteY6" fmla="*/ 6097632 h 6097632"/>
              <a:gd name="connsiteX7" fmla="*/ 0 w 11582400"/>
              <a:gd name="connsiteY7" fmla="*/ 23857 h 6097632"/>
              <a:gd name="connsiteX0" fmla="*/ 5386699 w 11582400"/>
              <a:gd name="connsiteY0" fmla="*/ 0 h 6097632"/>
              <a:gd name="connsiteX1" fmla="*/ 8309361 w 11582400"/>
              <a:gd name="connsiteY1" fmla="*/ 17092 h 6097632"/>
              <a:gd name="connsiteX2" fmla="*/ 11582400 w 11582400"/>
              <a:gd name="connsiteY2" fmla="*/ 23857 h 6097632"/>
              <a:gd name="connsiteX3" fmla="*/ 11582400 w 11582400"/>
              <a:gd name="connsiteY3" fmla="*/ 6097632 h 6097632"/>
              <a:gd name="connsiteX4" fmla="*/ 0 w 11582400"/>
              <a:gd name="connsiteY4" fmla="*/ 6097632 h 6097632"/>
              <a:gd name="connsiteX5" fmla="*/ 0 w 11582400"/>
              <a:gd name="connsiteY5" fmla="*/ 23857 h 6097632"/>
              <a:gd name="connsiteX6" fmla="*/ 3267342 w 11582400"/>
              <a:gd name="connsiteY6" fmla="*/ 8546 h 6097632"/>
              <a:gd name="connsiteX7" fmla="*/ 5478139 w 11582400"/>
              <a:gd name="connsiteY7" fmla="*/ 91440 h 6097632"/>
              <a:gd name="connsiteX0" fmla="*/ 8309361 w 11582400"/>
              <a:gd name="connsiteY0" fmla="*/ 8616 h 6089156"/>
              <a:gd name="connsiteX1" fmla="*/ 11582400 w 11582400"/>
              <a:gd name="connsiteY1" fmla="*/ 15381 h 6089156"/>
              <a:gd name="connsiteX2" fmla="*/ 11582400 w 11582400"/>
              <a:gd name="connsiteY2" fmla="*/ 6089156 h 6089156"/>
              <a:gd name="connsiteX3" fmla="*/ 0 w 11582400"/>
              <a:gd name="connsiteY3" fmla="*/ 6089156 h 6089156"/>
              <a:gd name="connsiteX4" fmla="*/ 0 w 11582400"/>
              <a:gd name="connsiteY4" fmla="*/ 15381 h 6089156"/>
              <a:gd name="connsiteX5" fmla="*/ 3267342 w 11582400"/>
              <a:gd name="connsiteY5" fmla="*/ 70 h 6089156"/>
              <a:gd name="connsiteX6" fmla="*/ 5478139 w 11582400"/>
              <a:gd name="connsiteY6" fmla="*/ 82964 h 6089156"/>
              <a:gd name="connsiteX0" fmla="*/ 8309361 w 11582400"/>
              <a:gd name="connsiteY0" fmla="*/ 8546 h 6089086"/>
              <a:gd name="connsiteX1" fmla="*/ 11582400 w 11582400"/>
              <a:gd name="connsiteY1" fmla="*/ 15311 h 6089086"/>
              <a:gd name="connsiteX2" fmla="*/ 11582400 w 11582400"/>
              <a:gd name="connsiteY2" fmla="*/ 6089086 h 6089086"/>
              <a:gd name="connsiteX3" fmla="*/ 0 w 11582400"/>
              <a:gd name="connsiteY3" fmla="*/ 6089086 h 6089086"/>
              <a:gd name="connsiteX4" fmla="*/ 0 w 11582400"/>
              <a:gd name="connsiteY4" fmla="*/ 15311 h 6089086"/>
              <a:gd name="connsiteX5" fmla="*/ 3267342 w 11582400"/>
              <a:gd name="connsiteY5" fmla="*/ 0 h 6089086"/>
              <a:gd name="connsiteX0" fmla="*/ 8309361 w 11582400"/>
              <a:gd name="connsiteY0" fmla="*/ 8546 h 6089086"/>
              <a:gd name="connsiteX1" fmla="*/ 11582400 w 11582400"/>
              <a:gd name="connsiteY1" fmla="*/ 15311 h 6089086"/>
              <a:gd name="connsiteX2" fmla="*/ 11582400 w 11582400"/>
              <a:gd name="connsiteY2" fmla="*/ 2923611 h 6089086"/>
              <a:gd name="connsiteX3" fmla="*/ 11582400 w 11582400"/>
              <a:gd name="connsiteY3" fmla="*/ 6089086 h 6089086"/>
              <a:gd name="connsiteX4" fmla="*/ 0 w 11582400"/>
              <a:gd name="connsiteY4" fmla="*/ 6089086 h 6089086"/>
              <a:gd name="connsiteX5" fmla="*/ 0 w 11582400"/>
              <a:gd name="connsiteY5" fmla="*/ 15311 h 6089086"/>
              <a:gd name="connsiteX6" fmla="*/ 3267342 w 11582400"/>
              <a:gd name="connsiteY6" fmla="*/ 0 h 6089086"/>
              <a:gd name="connsiteX0" fmla="*/ 8309361 w 11582400"/>
              <a:gd name="connsiteY0" fmla="*/ 8546 h 6089086"/>
              <a:gd name="connsiteX1" fmla="*/ 11582400 w 11582400"/>
              <a:gd name="connsiteY1" fmla="*/ 15311 h 6089086"/>
              <a:gd name="connsiteX2" fmla="*/ 11582400 w 11582400"/>
              <a:gd name="connsiteY2" fmla="*/ 6089086 h 6089086"/>
              <a:gd name="connsiteX3" fmla="*/ 0 w 11582400"/>
              <a:gd name="connsiteY3" fmla="*/ 6089086 h 6089086"/>
              <a:gd name="connsiteX4" fmla="*/ 0 w 11582400"/>
              <a:gd name="connsiteY4" fmla="*/ 15311 h 6089086"/>
              <a:gd name="connsiteX5" fmla="*/ 3267342 w 11582400"/>
              <a:gd name="connsiteY5" fmla="*/ 0 h 60890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582400" h="6089086">
                <a:moveTo>
                  <a:pt x="8309361" y="8546"/>
                </a:moveTo>
                <a:lnTo>
                  <a:pt x="11582400" y="15311"/>
                </a:lnTo>
                <a:lnTo>
                  <a:pt x="11582400" y="6089086"/>
                </a:lnTo>
                <a:lnTo>
                  <a:pt x="0" y="6089086"/>
                </a:lnTo>
                <a:lnTo>
                  <a:pt x="0" y="15311"/>
                </a:lnTo>
                <a:lnTo>
                  <a:pt x="3267342" y="0"/>
                </a:lnTo>
              </a:path>
            </a:pathLst>
          </a:custGeom>
          <a:noFill/>
          <a:ln w="6350">
            <a:solidFill>
              <a:schemeClr val="accent2"/>
            </a:solidFill>
            <a:headEnd type="oval"/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094B0E2-52F1-47A9-B0CD-64F57F5DE476}"/>
              </a:ext>
            </a:extLst>
          </p:cNvPr>
          <p:cNvSpPr txBox="1"/>
          <p:nvPr/>
        </p:nvSpPr>
        <p:spPr>
          <a:xfrm>
            <a:off x="190500" y="241300"/>
            <a:ext cx="11811000" cy="8002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3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rPr>
              <a:t>Project Management</a:t>
            </a:r>
          </a:p>
          <a:p>
            <a:pPr algn="ctr"/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rPr>
              <a:t>Template Pack</a:t>
            </a:r>
            <a:endParaRPr lang="id-ID" sz="20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ABA8D8A-3C74-47D4-9A47-6C113AB1DC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65069E-FEA1-427A-A048-CF60E8D1D63F}" type="datetime1">
              <a:rPr lang="en-US" sz="1000" smtClean="0"/>
              <a:t>5/8/2019</a:t>
            </a:fld>
            <a:endParaRPr lang="en-US" sz="10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28A193C-DE62-45B9-BC6C-339547738B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EFC3F0-C584-483B-B1FE-52BE924CB19D}" type="slidenum">
              <a:rPr lang="en-US" sz="1000" smtClean="0"/>
              <a:t>8</a:t>
            </a:fld>
            <a:endParaRPr lang="en-US" sz="1000"/>
          </a:p>
        </p:txBody>
      </p:sp>
      <p:sp>
        <p:nvSpPr>
          <p:cNvPr id="73" name="Rectangle: Rounded Corners 72">
            <a:extLst>
              <a:ext uri="{FF2B5EF4-FFF2-40B4-BE49-F238E27FC236}">
                <a16:creationId xmlns:a16="http://schemas.microsoft.com/office/drawing/2014/main" id="{EBA906F9-8E12-44E7-8033-1B0F342651EF}"/>
              </a:ext>
            </a:extLst>
          </p:cNvPr>
          <p:cNvSpPr/>
          <p:nvPr/>
        </p:nvSpPr>
        <p:spPr>
          <a:xfrm>
            <a:off x="537410" y="1461512"/>
            <a:ext cx="2495644" cy="1876428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9C1B991C-1490-4B54-A76E-D30880743F69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819988" y="2556612"/>
            <a:ext cx="1930488" cy="369332"/>
          </a:xfrm>
          <a:prstGeom prst="rect">
            <a:avLst/>
          </a:prstGeom>
          <a:effectLst/>
        </p:spPr>
        <p:txBody>
          <a:bodyPr wrap="square" anchor="t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LOREM IPSUM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1D656F76-4754-4DE9-A088-9074FC31F88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770726" y="3484106"/>
            <a:ext cx="2029013" cy="1384995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/>
            <a:r>
              <a:rPr lang="en-US" sz="1400" dirty="0"/>
              <a:t>Lorem ipsum 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, sed do </a:t>
            </a:r>
            <a:r>
              <a:rPr lang="en-US" sz="1400" dirty="0" err="1"/>
              <a:t>eiusmod</a:t>
            </a:r>
            <a:r>
              <a:rPr lang="en-US" sz="1400" dirty="0"/>
              <a:t> </a:t>
            </a:r>
            <a:r>
              <a:rPr lang="en-US" sz="1400" dirty="0" err="1"/>
              <a:t>tempor</a:t>
            </a:r>
            <a:r>
              <a:rPr lang="en-US" sz="1400" dirty="0"/>
              <a:t> </a:t>
            </a:r>
            <a:r>
              <a:rPr lang="en-US" sz="1400" dirty="0" err="1"/>
              <a:t>incididunt</a:t>
            </a:r>
            <a:r>
              <a:rPr lang="en-US" sz="1400" dirty="0"/>
              <a:t>.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25AB1E9F-D1D7-4A51-9A72-C980CC8A684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770726" y="5103603"/>
            <a:ext cx="2029013" cy="95410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/>
            <a:r>
              <a:rPr lang="en-US" sz="1400" dirty="0"/>
              <a:t>Lorem ipsum 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.</a:t>
            </a:r>
          </a:p>
        </p:txBody>
      </p: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86AF58B7-639A-483A-AA47-EBA3192609FA}"/>
              </a:ext>
            </a:extLst>
          </p:cNvPr>
          <p:cNvCxnSpPr/>
          <p:nvPr/>
        </p:nvCxnSpPr>
        <p:spPr>
          <a:xfrm>
            <a:off x="770726" y="4986352"/>
            <a:ext cx="2029013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1" name="Group 90">
            <a:extLst>
              <a:ext uri="{FF2B5EF4-FFF2-40B4-BE49-F238E27FC236}">
                <a16:creationId xmlns:a16="http://schemas.microsoft.com/office/drawing/2014/main" id="{C0F5A8F4-B4E7-4224-879D-CED438DFFC58}"/>
              </a:ext>
            </a:extLst>
          </p:cNvPr>
          <p:cNvGrpSpPr/>
          <p:nvPr/>
        </p:nvGrpSpPr>
        <p:grpSpPr>
          <a:xfrm>
            <a:off x="1595708" y="1944317"/>
            <a:ext cx="379048" cy="493578"/>
            <a:chOff x="304800" y="2492375"/>
            <a:chExt cx="220663" cy="287338"/>
          </a:xfrm>
          <a:solidFill>
            <a:schemeClr val="bg1"/>
          </a:solidFill>
        </p:grpSpPr>
        <p:sp>
          <p:nvSpPr>
            <p:cNvPr id="92" name="Freeform 374">
              <a:extLst>
                <a:ext uri="{FF2B5EF4-FFF2-40B4-BE49-F238E27FC236}">
                  <a16:creationId xmlns:a16="http://schemas.microsoft.com/office/drawing/2014/main" id="{102DAFE3-DC6F-4029-9348-9D9DD1BDC4B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1000" y="2540000"/>
              <a:ext cx="95250" cy="76200"/>
            </a:xfrm>
            <a:custGeom>
              <a:avLst/>
              <a:gdLst>
                <a:gd name="T0" fmla="*/ 135 w 301"/>
                <a:gd name="T1" fmla="*/ 151 h 242"/>
                <a:gd name="T2" fmla="*/ 141 w 301"/>
                <a:gd name="T3" fmla="*/ 153 h 242"/>
                <a:gd name="T4" fmla="*/ 146 w 301"/>
                <a:gd name="T5" fmla="*/ 156 h 242"/>
                <a:gd name="T6" fmla="*/ 149 w 301"/>
                <a:gd name="T7" fmla="*/ 160 h 242"/>
                <a:gd name="T8" fmla="*/ 150 w 301"/>
                <a:gd name="T9" fmla="*/ 167 h 242"/>
                <a:gd name="T10" fmla="*/ 149 w 301"/>
                <a:gd name="T11" fmla="*/ 172 h 242"/>
                <a:gd name="T12" fmla="*/ 146 w 301"/>
                <a:gd name="T13" fmla="*/ 176 h 242"/>
                <a:gd name="T14" fmla="*/ 141 w 301"/>
                <a:gd name="T15" fmla="*/ 181 h 242"/>
                <a:gd name="T16" fmla="*/ 135 w 301"/>
                <a:gd name="T17" fmla="*/ 182 h 242"/>
                <a:gd name="T18" fmla="*/ 72 w 301"/>
                <a:gd name="T19" fmla="*/ 181 h 242"/>
                <a:gd name="T20" fmla="*/ 67 w 301"/>
                <a:gd name="T21" fmla="*/ 178 h 242"/>
                <a:gd name="T22" fmla="*/ 63 w 301"/>
                <a:gd name="T23" fmla="*/ 174 h 242"/>
                <a:gd name="T24" fmla="*/ 60 w 301"/>
                <a:gd name="T25" fmla="*/ 169 h 242"/>
                <a:gd name="T26" fmla="*/ 60 w 301"/>
                <a:gd name="T27" fmla="*/ 163 h 242"/>
                <a:gd name="T28" fmla="*/ 63 w 301"/>
                <a:gd name="T29" fmla="*/ 158 h 242"/>
                <a:gd name="T30" fmla="*/ 67 w 301"/>
                <a:gd name="T31" fmla="*/ 154 h 242"/>
                <a:gd name="T32" fmla="*/ 72 w 301"/>
                <a:gd name="T33" fmla="*/ 152 h 242"/>
                <a:gd name="T34" fmla="*/ 75 w 301"/>
                <a:gd name="T35" fmla="*/ 151 h 242"/>
                <a:gd name="T36" fmla="*/ 286 w 301"/>
                <a:gd name="T37" fmla="*/ 242 h 242"/>
                <a:gd name="T38" fmla="*/ 292 w 301"/>
                <a:gd name="T39" fmla="*/ 241 h 242"/>
                <a:gd name="T40" fmla="*/ 296 w 301"/>
                <a:gd name="T41" fmla="*/ 237 h 242"/>
                <a:gd name="T42" fmla="*/ 300 w 301"/>
                <a:gd name="T43" fmla="*/ 232 h 242"/>
                <a:gd name="T44" fmla="*/ 301 w 301"/>
                <a:gd name="T45" fmla="*/ 227 h 242"/>
                <a:gd name="T46" fmla="*/ 301 w 301"/>
                <a:gd name="T47" fmla="*/ 12 h 242"/>
                <a:gd name="T48" fmla="*/ 298 w 301"/>
                <a:gd name="T49" fmla="*/ 7 h 242"/>
                <a:gd name="T50" fmla="*/ 294 w 301"/>
                <a:gd name="T51" fmla="*/ 4 h 242"/>
                <a:gd name="T52" fmla="*/ 289 w 301"/>
                <a:gd name="T53" fmla="*/ 0 h 242"/>
                <a:gd name="T54" fmla="*/ 15 w 301"/>
                <a:gd name="T55" fmla="*/ 0 h 242"/>
                <a:gd name="T56" fmla="*/ 9 w 301"/>
                <a:gd name="T57" fmla="*/ 1 h 242"/>
                <a:gd name="T58" fmla="*/ 5 w 301"/>
                <a:gd name="T59" fmla="*/ 5 h 242"/>
                <a:gd name="T60" fmla="*/ 1 w 301"/>
                <a:gd name="T61" fmla="*/ 10 h 242"/>
                <a:gd name="T62" fmla="*/ 0 w 301"/>
                <a:gd name="T63" fmla="*/ 15 h 242"/>
                <a:gd name="T64" fmla="*/ 0 w 301"/>
                <a:gd name="T65" fmla="*/ 229 h 242"/>
                <a:gd name="T66" fmla="*/ 2 w 301"/>
                <a:gd name="T67" fmla="*/ 235 h 242"/>
                <a:gd name="T68" fmla="*/ 7 w 301"/>
                <a:gd name="T69" fmla="*/ 239 h 242"/>
                <a:gd name="T70" fmla="*/ 12 w 301"/>
                <a:gd name="T71" fmla="*/ 241 h 242"/>
                <a:gd name="T72" fmla="*/ 15 w 301"/>
                <a:gd name="T73" fmla="*/ 242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01" h="242">
                  <a:moveTo>
                    <a:pt x="75" y="151"/>
                  </a:moveTo>
                  <a:lnTo>
                    <a:pt x="135" y="151"/>
                  </a:lnTo>
                  <a:lnTo>
                    <a:pt x="139" y="152"/>
                  </a:lnTo>
                  <a:lnTo>
                    <a:pt x="141" y="153"/>
                  </a:lnTo>
                  <a:lnTo>
                    <a:pt x="144" y="154"/>
                  </a:lnTo>
                  <a:lnTo>
                    <a:pt x="146" y="156"/>
                  </a:lnTo>
                  <a:lnTo>
                    <a:pt x="148" y="158"/>
                  </a:lnTo>
                  <a:lnTo>
                    <a:pt x="149" y="160"/>
                  </a:lnTo>
                  <a:lnTo>
                    <a:pt x="150" y="163"/>
                  </a:lnTo>
                  <a:lnTo>
                    <a:pt x="150" y="167"/>
                  </a:lnTo>
                  <a:lnTo>
                    <a:pt x="150" y="169"/>
                  </a:lnTo>
                  <a:lnTo>
                    <a:pt x="149" y="172"/>
                  </a:lnTo>
                  <a:lnTo>
                    <a:pt x="148" y="174"/>
                  </a:lnTo>
                  <a:lnTo>
                    <a:pt x="146" y="176"/>
                  </a:lnTo>
                  <a:lnTo>
                    <a:pt x="144" y="178"/>
                  </a:lnTo>
                  <a:lnTo>
                    <a:pt x="141" y="181"/>
                  </a:lnTo>
                  <a:lnTo>
                    <a:pt x="139" y="181"/>
                  </a:lnTo>
                  <a:lnTo>
                    <a:pt x="135" y="182"/>
                  </a:lnTo>
                  <a:lnTo>
                    <a:pt x="75" y="182"/>
                  </a:lnTo>
                  <a:lnTo>
                    <a:pt x="72" y="181"/>
                  </a:lnTo>
                  <a:lnTo>
                    <a:pt x="69" y="181"/>
                  </a:lnTo>
                  <a:lnTo>
                    <a:pt x="67" y="178"/>
                  </a:lnTo>
                  <a:lnTo>
                    <a:pt x="65" y="176"/>
                  </a:lnTo>
                  <a:lnTo>
                    <a:pt x="63" y="174"/>
                  </a:lnTo>
                  <a:lnTo>
                    <a:pt x="61" y="172"/>
                  </a:lnTo>
                  <a:lnTo>
                    <a:pt x="60" y="169"/>
                  </a:lnTo>
                  <a:lnTo>
                    <a:pt x="60" y="167"/>
                  </a:lnTo>
                  <a:lnTo>
                    <a:pt x="60" y="163"/>
                  </a:lnTo>
                  <a:lnTo>
                    <a:pt x="61" y="160"/>
                  </a:lnTo>
                  <a:lnTo>
                    <a:pt x="63" y="158"/>
                  </a:lnTo>
                  <a:lnTo>
                    <a:pt x="65" y="156"/>
                  </a:lnTo>
                  <a:lnTo>
                    <a:pt x="67" y="154"/>
                  </a:lnTo>
                  <a:lnTo>
                    <a:pt x="69" y="153"/>
                  </a:lnTo>
                  <a:lnTo>
                    <a:pt x="72" y="152"/>
                  </a:lnTo>
                  <a:lnTo>
                    <a:pt x="75" y="152"/>
                  </a:lnTo>
                  <a:lnTo>
                    <a:pt x="75" y="151"/>
                  </a:lnTo>
                  <a:close/>
                  <a:moveTo>
                    <a:pt x="15" y="242"/>
                  </a:moveTo>
                  <a:lnTo>
                    <a:pt x="286" y="242"/>
                  </a:lnTo>
                  <a:lnTo>
                    <a:pt x="289" y="241"/>
                  </a:lnTo>
                  <a:lnTo>
                    <a:pt x="292" y="241"/>
                  </a:lnTo>
                  <a:lnTo>
                    <a:pt x="294" y="239"/>
                  </a:lnTo>
                  <a:lnTo>
                    <a:pt x="296" y="237"/>
                  </a:lnTo>
                  <a:lnTo>
                    <a:pt x="298" y="235"/>
                  </a:lnTo>
                  <a:lnTo>
                    <a:pt x="300" y="232"/>
                  </a:lnTo>
                  <a:lnTo>
                    <a:pt x="301" y="230"/>
                  </a:lnTo>
                  <a:lnTo>
                    <a:pt x="301" y="227"/>
                  </a:lnTo>
                  <a:lnTo>
                    <a:pt x="301" y="15"/>
                  </a:lnTo>
                  <a:lnTo>
                    <a:pt x="301" y="12"/>
                  </a:lnTo>
                  <a:lnTo>
                    <a:pt x="300" y="10"/>
                  </a:lnTo>
                  <a:lnTo>
                    <a:pt x="298" y="7"/>
                  </a:lnTo>
                  <a:lnTo>
                    <a:pt x="296" y="5"/>
                  </a:lnTo>
                  <a:lnTo>
                    <a:pt x="294" y="4"/>
                  </a:lnTo>
                  <a:lnTo>
                    <a:pt x="292" y="1"/>
                  </a:lnTo>
                  <a:lnTo>
                    <a:pt x="289" y="0"/>
                  </a:lnTo>
                  <a:lnTo>
                    <a:pt x="286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9" y="1"/>
                  </a:lnTo>
                  <a:lnTo>
                    <a:pt x="7" y="4"/>
                  </a:lnTo>
                  <a:lnTo>
                    <a:pt x="5" y="5"/>
                  </a:lnTo>
                  <a:lnTo>
                    <a:pt x="2" y="7"/>
                  </a:lnTo>
                  <a:lnTo>
                    <a:pt x="1" y="10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227"/>
                  </a:lnTo>
                  <a:lnTo>
                    <a:pt x="0" y="229"/>
                  </a:lnTo>
                  <a:lnTo>
                    <a:pt x="1" y="232"/>
                  </a:lnTo>
                  <a:lnTo>
                    <a:pt x="2" y="235"/>
                  </a:lnTo>
                  <a:lnTo>
                    <a:pt x="5" y="237"/>
                  </a:lnTo>
                  <a:lnTo>
                    <a:pt x="7" y="239"/>
                  </a:lnTo>
                  <a:lnTo>
                    <a:pt x="9" y="241"/>
                  </a:lnTo>
                  <a:lnTo>
                    <a:pt x="12" y="241"/>
                  </a:lnTo>
                  <a:lnTo>
                    <a:pt x="15" y="242"/>
                  </a:lnTo>
                  <a:lnTo>
                    <a:pt x="15" y="2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375">
              <a:extLst>
                <a:ext uri="{FF2B5EF4-FFF2-40B4-BE49-F238E27FC236}">
                  <a16:creationId xmlns:a16="http://schemas.microsoft.com/office/drawing/2014/main" id="{8E8A043F-6EA0-4684-901E-3502300CD4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4800" y="2492375"/>
              <a:ext cx="220663" cy="287338"/>
            </a:xfrm>
            <a:custGeom>
              <a:avLst/>
              <a:gdLst>
                <a:gd name="T0" fmla="*/ 590 w 693"/>
                <a:gd name="T1" fmla="*/ 663 h 903"/>
                <a:gd name="T2" fmla="*/ 597 w 693"/>
                <a:gd name="T3" fmla="*/ 666 h 903"/>
                <a:gd name="T4" fmla="*/ 602 w 693"/>
                <a:gd name="T5" fmla="*/ 675 h 903"/>
                <a:gd name="T6" fmla="*/ 601 w 693"/>
                <a:gd name="T7" fmla="*/ 684 h 903"/>
                <a:gd name="T8" fmla="*/ 595 w 693"/>
                <a:gd name="T9" fmla="*/ 690 h 903"/>
                <a:gd name="T10" fmla="*/ 587 w 693"/>
                <a:gd name="T11" fmla="*/ 692 h 903"/>
                <a:gd name="T12" fmla="*/ 476 w 693"/>
                <a:gd name="T13" fmla="*/ 691 h 903"/>
                <a:gd name="T14" fmla="*/ 470 w 693"/>
                <a:gd name="T15" fmla="*/ 686 h 903"/>
                <a:gd name="T16" fmla="*/ 467 w 693"/>
                <a:gd name="T17" fmla="*/ 677 h 903"/>
                <a:gd name="T18" fmla="*/ 470 w 693"/>
                <a:gd name="T19" fmla="*/ 670 h 903"/>
                <a:gd name="T20" fmla="*/ 476 w 693"/>
                <a:gd name="T21" fmla="*/ 663 h 903"/>
                <a:gd name="T22" fmla="*/ 482 w 693"/>
                <a:gd name="T23" fmla="*/ 662 h 903"/>
                <a:gd name="T24" fmla="*/ 625 w 693"/>
                <a:gd name="T25" fmla="*/ 815 h 903"/>
                <a:gd name="T26" fmla="*/ 617 w 693"/>
                <a:gd name="T27" fmla="*/ 813 h 903"/>
                <a:gd name="T28" fmla="*/ 269 w 693"/>
                <a:gd name="T29" fmla="*/ 791 h 903"/>
                <a:gd name="T30" fmla="*/ 270 w 693"/>
                <a:gd name="T31" fmla="*/ 761 h 903"/>
                <a:gd name="T32" fmla="*/ 650 w 693"/>
                <a:gd name="T33" fmla="*/ 752 h 903"/>
                <a:gd name="T34" fmla="*/ 657 w 693"/>
                <a:gd name="T35" fmla="*/ 748 h 903"/>
                <a:gd name="T36" fmla="*/ 662 w 693"/>
                <a:gd name="T37" fmla="*/ 740 h 903"/>
                <a:gd name="T38" fmla="*/ 662 w 693"/>
                <a:gd name="T39" fmla="*/ 434 h 903"/>
                <a:gd name="T40" fmla="*/ 657 w 693"/>
                <a:gd name="T41" fmla="*/ 426 h 903"/>
                <a:gd name="T42" fmla="*/ 650 w 693"/>
                <a:gd name="T43" fmla="*/ 422 h 903"/>
                <a:gd name="T44" fmla="*/ 253 w 693"/>
                <a:gd name="T45" fmla="*/ 422 h 903"/>
                <a:gd name="T46" fmla="*/ 246 w 693"/>
                <a:gd name="T47" fmla="*/ 426 h 903"/>
                <a:gd name="T48" fmla="*/ 241 w 693"/>
                <a:gd name="T49" fmla="*/ 434 h 903"/>
                <a:gd name="T50" fmla="*/ 235 w 693"/>
                <a:gd name="T51" fmla="*/ 676 h 903"/>
                <a:gd name="T52" fmla="*/ 213 w 693"/>
                <a:gd name="T53" fmla="*/ 658 h 903"/>
                <a:gd name="T54" fmla="*/ 190 w 693"/>
                <a:gd name="T55" fmla="*/ 644 h 903"/>
                <a:gd name="T56" fmla="*/ 180 w 693"/>
                <a:gd name="T57" fmla="*/ 12 h 903"/>
                <a:gd name="T58" fmla="*/ 176 w 693"/>
                <a:gd name="T59" fmla="*/ 5 h 903"/>
                <a:gd name="T60" fmla="*/ 168 w 693"/>
                <a:gd name="T61" fmla="*/ 0 h 903"/>
                <a:gd name="T62" fmla="*/ 72 w 693"/>
                <a:gd name="T63" fmla="*/ 0 h 903"/>
                <a:gd name="T64" fmla="*/ 64 w 693"/>
                <a:gd name="T65" fmla="*/ 5 h 903"/>
                <a:gd name="T66" fmla="*/ 60 w 693"/>
                <a:gd name="T67" fmla="*/ 12 h 903"/>
                <a:gd name="T68" fmla="*/ 61 w 693"/>
                <a:gd name="T69" fmla="*/ 21 h 903"/>
                <a:gd name="T70" fmla="*/ 66 w 693"/>
                <a:gd name="T71" fmla="*/ 28 h 903"/>
                <a:gd name="T72" fmla="*/ 75 w 693"/>
                <a:gd name="T73" fmla="*/ 30 h 903"/>
                <a:gd name="T74" fmla="*/ 143 w 693"/>
                <a:gd name="T75" fmla="*/ 632 h 903"/>
                <a:gd name="T76" fmla="*/ 108 w 693"/>
                <a:gd name="T77" fmla="*/ 635 h 903"/>
                <a:gd name="T78" fmla="*/ 71 w 693"/>
                <a:gd name="T79" fmla="*/ 649 h 903"/>
                <a:gd name="T80" fmla="*/ 40 w 693"/>
                <a:gd name="T81" fmla="*/ 672 h 903"/>
                <a:gd name="T82" fmla="*/ 16 w 693"/>
                <a:gd name="T83" fmla="*/ 703 h 903"/>
                <a:gd name="T84" fmla="*/ 3 w 693"/>
                <a:gd name="T85" fmla="*/ 740 h 903"/>
                <a:gd name="T86" fmla="*/ 1 w 693"/>
                <a:gd name="T87" fmla="*/ 782 h 903"/>
                <a:gd name="T88" fmla="*/ 11 w 693"/>
                <a:gd name="T89" fmla="*/ 821 h 903"/>
                <a:gd name="T90" fmla="*/ 31 w 693"/>
                <a:gd name="T91" fmla="*/ 854 h 903"/>
                <a:gd name="T92" fmla="*/ 60 w 693"/>
                <a:gd name="T93" fmla="*/ 880 h 903"/>
                <a:gd name="T94" fmla="*/ 95 w 693"/>
                <a:gd name="T95" fmla="*/ 897 h 903"/>
                <a:gd name="T96" fmla="*/ 135 w 693"/>
                <a:gd name="T97" fmla="*/ 903 h 903"/>
                <a:gd name="T98" fmla="*/ 161 w 693"/>
                <a:gd name="T99" fmla="*/ 901 h 903"/>
                <a:gd name="T100" fmla="*/ 201 w 693"/>
                <a:gd name="T101" fmla="*/ 887 h 903"/>
                <a:gd name="T102" fmla="*/ 238 w 693"/>
                <a:gd name="T103" fmla="*/ 856 h 903"/>
                <a:gd name="T104" fmla="*/ 667 w 693"/>
                <a:gd name="T105" fmla="*/ 899 h 903"/>
                <a:gd name="T106" fmla="*/ 675 w 693"/>
                <a:gd name="T107" fmla="*/ 903 h 903"/>
                <a:gd name="T108" fmla="*/ 683 w 693"/>
                <a:gd name="T109" fmla="*/ 902 h 903"/>
                <a:gd name="T110" fmla="*/ 690 w 693"/>
                <a:gd name="T111" fmla="*/ 897 h 903"/>
                <a:gd name="T112" fmla="*/ 693 w 693"/>
                <a:gd name="T113" fmla="*/ 888 h 903"/>
                <a:gd name="T114" fmla="*/ 690 w 693"/>
                <a:gd name="T115" fmla="*/ 880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93" h="903">
                  <a:moveTo>
                    <a:pt x="482" y="662"/>
                  </a:moveTo>
                  <a:lnTo>
                    <a:pt x="587" y="662"/>
                  </a:lnTo>
                  <a:lnTo>
                    <a:pt x="590" y="663"/>
                  </a:lnTo>
                  <a:lnTo>
                    <a:pt x="593" y="663"/>
                  </a:lnTo>
                  <a:lnTo>
                    <a:pt x="595" y="665"/>
                  </a:lnTo>
                  <a:lnTo>
                    <a:pt x="597" y="666"/>
                  </a:lnTo>
                  <a:lnTo>
                    <a:pt x="600" y="670"/>
                  </a:lnTo>
                  <a:lnTo>
                    <a:pt x="601" y="672"/>
                  </a:lnTo>
                  <a:lnTo>
                    <a:pt x="602" y="675"/>
                  </a:lnTo>
                  <a:lnTo>
                    <a:pt x="602" y="677"/>
                  </a:lnTo>
                  <a:lnTo>
                    <a:pt x="602" y="680"/>
                  </a:lnTo>
                  <a:lnTo>
                    <a:pt x="601" y="684"/>
                  </a:lnTo>
                  <a:lnTo>
                    <a:pt x="600" y="686"/>
                  </a:lnTo>
                  <a:lnTo>
                    <a:pt x="597" y="688"/>
                  </a:lnTo>
                  <a:lnTo>
                    <a:pt x="595" y="690"/>
                  </a:lnTo>
                  <a:lnTo>
                    <a:pt x="593" y="691"/>
                  </a:lnTo>
                  <a:lnTo>
                    <a:pt x="590" y="692"/>
                  </a:lnTo>
                  <a:lnTo>
                    <a:pt x="587" y="692"/>
                  </a:lnTo>
                  <a:lnTo>
                    <a:pt x="482" y="692"/>
                  </a:lnTo>
                  <a:lnTo>
                    <a:pt x="478" y="692"/>
                  </a:lnTo>
                  <a:lnTo>
                    <a:pt x="476" y="691"/>
                  </a:lnTo>
                  <a:lnTo>
                    <a:pt x="473" y="690"/>
                  </a:lnTo>
                  <a:lnTo>
                    <a:pt x="471" y="688"/>
                  </a:lnTo>
                  <a:lnTo>
                    <a:pt x="470" y="686"/>
                  </a:lnTo>
                  <a:lnTo>
                    <a:pt x="468" y="684"/>
                  </a:lnTo>
                  <a:lnTo>
                    <a:pt x="467" y="680"/>
                  </a:lnTo>
                  <a:lnTo>
                    <a:pt x="467" y="677"/>
                  </a:lnTo>
                  <a:lnTo>
                    <a:pt x="467" y="675"/>
                  </a:lnTo>
                  <a:lnTo>
                    <a:pt x="468" y="672"/>
                  </a:lnTo>
                  <a:lnTo>
                    <a:pt x="470" y="670"/>
                  </a:lnTo>
                  <a:lnTo>
                    <a:pt x="471" y="666"/>
                  </a:lnTo>
                  <a:lnTo>
                    <a:pt x="473" y="665"/>
                  </a:lnTo>
                  <a:lnTo>
                    <a:pt x="476" y="663"/>
                  </a:lnTo>
                  <a:lnTo>
                    <a:pt x="478" y="663"/>
                  </a:lnTo>
                  <a:lnTo>
                    <a:pt x="482" y="662"/>
                  </a:lnTo>
                  <a:lnTo>
                    <a:pt x="482" y="662"/>
                  </a:lnTo>
                  <a:close/>
                  <a:moveTo>
                    <a:pt x="689" y="878"/>
                  </a:moveTo>
                  <a:lnTo>
                    <a:pt x="627" y="818"/>
                  </a:lnTo>
                  <a:lnTo>
                    <a:pt x="625" y="815"/>
                  </a:lnTo>
                  <a:lnTo>
                    <a:pt x="623" y="814"/>
                  </a:lnTo>
                  <a:lnTo>
                    <a:pt x="620" y="813"/>
                  </a:lnTo>
                  <a:lnTo>
                    <a:pt x="617" y="813"/>
                  </a:lnTo>
                  <a:lnTo>
                    <a:pt x="263" y="813"/>
                  </a:lnTo>
                  <a:lnTo>
                    <a:pt x="266" y="803"/>
                  </a:lnTo>
                  <a:lnTo>
                    <a:pt x="269" y="791"/>
                  </a:lnTo>
                  <a:lnTo>
                    <a:pt x="270" y="780"/>
                  </a:lnTo>
                  <a:lnTo>
                    <a:pt x="271" y="768"/>
                  </a:lnTo>
                  <a:lnTo>
                    <a:pt x="270" y="761"/>
                  </a:lnTo>
                  <a:lnTo>
                    <a:pt x="270" y="753"/>
                  </a:lnTo>
                  <a:lnTo>
                    <a:pt x="648" y="753"/>
                  </a:lnTo>
                  <a:lnTo>
                    <a:pt x="650" y="752"/>
                  </a:lnTo>
                  <a:lnTo>
                    <a:pt x="653" y="751"/>
                  </a:lnTo>
                  <a:lnTo>
                    <a:pt x="655" y="750"/>
                  </a:lnTo>
                  <a:lnTo>
                    <a:pt x="657" y="748"/>
                  </a:lnTo>
                  <a:lnTo>
                    <a:pt x="660" y="746"/>
                  </a:lnTo>
                  <a:lnTo>
                    <a:pt x="661" y="744"/>
                  </a:lnTo>
                  <a:lnTo>
                    <a:pt x="662" y="740"/>
                  </a:lnTo>
                  <a:lnTo>
                    <a:pt x="663" y="738"/>
                  </a:lnTo>
                  <a:lnTo>
                    <a:pt x="663" y="437"/>
                  </a:lnTo>
                  <a:lnTo>
                    <a:pt x="662" y="434"/>
                  </a:lnTo>
                  <a:lnTo>
                    <a:pt x="661" y="430"/>
                  </a:lnTo>
                  <a:lnTo>
                    <a:pt x="660" y="428"/>
                  </a:lnTo>
                  <a:lnTo>
                    <a:pt x="657" y="426"/>
                  </a:lnTo>
                  <a:lnTo>
                    <a:pt x="655" y="424"/>
                  </a:lnTo>
                  <a:lnTo>
                    <a:pt x="653" y="423"/>
                  </a:lnTo>
                  <a:lnTo>
                    <a:pt x="650" y="422"/>
                  </a:lnTo>
                  <a:lnTo>
                    <a:pt x="648" y="422"/>
                  </a:lnTo>
                  <a:lnTo>
                    <a:pt x="256" y="422"/>
                  </a:lnTo>
                  <a:lnTo>
                    <a:pt x="253" y="422"/>
                  </a:lnTo>
                  <a:lnTo>
                    <a:pt x="250" y="423"/>
                  </a:lnTo>
                  <a:lnTo>
                    <a:pt x="248" y="424"/>
                  </a:lnTo>
                  <a:lnTo>
                    <a:pt x="246" y="426"/>
                  </a:lnTo>
                  <a:lnTo>
                    <a:pt x="243" y="428"/>
                  </a:lnTo>
                  <a:lnTo>
                    <a:pt x="242" y="430"/>
                  </a:lnTo>
                  <a:lnTo>
                    <a:pt x="241" y="434"/>
                  </a:lnTo>
                  <a:lnTo>
                    <a:pt x="241" y="437"/>
                  </a:lnTo>
                  <a:lnTo>
                    <a:pt x="241" y="682"/>
                  </a:lnTo>
                  <a:lnTo>
                    <a:pt x="235" y="676"/>
                  </a:lnTo>
                  <a:lnTo>
                    <a:pt x="228" y="670"/>
                  </a:lnTo>
                  <a:lnTo>
                    <a:pt x="221" y="663"/>
                  </a:lnTo>
                  <a:lnTo>
                    <a:pt x="213" y="658"/>
                  </a:lnTo>
                  <a:lnTo>
                    <a:pt x="206" y="652"/>
                  </a:lnTo>
                  <a:lnTo>
                    <a:pt x="198" y="648"/>
                  </a:lnTo>
                  <a:lnTo>
                    <a:pt x="190" y="644"/>
                  </a:lnTo>
                  <a:lnTo>
                    <a:pt x="180" y="641"/>
                  </a:lnTo>
                  <a:lnTo>
                    <a:pt x="180" y="15"/>
                  </a:lnTo>
                  <a:lnTo>
                    <a:pt x="180" y="12"/>
                  </a:lnTo>
                  <a:lnTo>
                    <a:pt x="179" y="9"/>
                  </a:lnTo>
                  <a:lnTo>
                    <a:pt x="178" y="7"/>
                  </a:lnTo>
                  <a:lnTo>
                    <a:pt x="176" y="5"/>
                  </a:lnTo>
                  <a:lnTo>
                    <a:pt x="174" y="2"/>
                  </a:lnTo>
                  <a:lnTo>
                    <a:pt x="172" y="1"/>
                  </a:lnTo>
                  <a:lnTo>
                    <a:pt x="168" y="0"/>
                  </a:lnTo>
                  <a:lnTo>
                    <a:pt x="165" y="0"/>
                  </a:lnTo>
                  <a:lnTo>
                    <a:pt x="75" y="0"/>
                  </a:lnTo>
                  <a:lnTo>
                    <a:pt x="72" y="0"/>
                  </a:lnTo>
                  <a:lnTo>
                    <a:pt x="70" y="1"/>
                  </a:lnTo>
                  <a:lnTo>
                    <a:pt x="66" y="2"/>
                  </a:lnTo>
                  <a:lnTo>
                    <a:pt x="64" y="5"/>
                  </a:lnTo>
                  <a:lnTo>
                    <a:pt x="63" y="7"/>
                  </a:lnTo>
                  <a:lnTo>
                    <a:pt x="61" y="9"/>
                  </a:lnTo>
                  <a:lnTo>
                    <a:pt x="60" y="12"/>
                  </a:lnTo>
                  <a:lnTo>
                    <a:pt x="60" y="15"/>
                  </a:lnTo>
                  <a:lnTo>
                    <a:pt x="60" y="18"/>
                  </a:lnTo>
                  <a:lnTo>
                    <a:pt x="61" y="21"/>
                  </a:lnTo>
                  <a:lnTo>
                    <a:pt x="63" y="24"/>
                  </a:lnTo>
                  <a:lnTo>
                    <a:pt x="64" y="26"/>
                  </a:lnTo>
                  <a:lnTo>
                    <a:pt x="66" y="28"/>
                  </a:lnTo>
                  <a:lnTo>
                    <a:pt x="70" y="29"/>
                  </a:lnTo>
                  <a:lnTo>
                    <a:pt x="72" y="30"/>
                  </a:lnTo>
                  <a:lnTo>
                    <a:pt x="75" y="30"/>
                  </a:lnTo>
                  <a:lnTo>
                    <a:pt x="150" y="30"/>
                  </a:lnTo>
                  <a:lnTo>
                    <a:pt x="150" y="633"/>
                  </a:lnTo>
                  <a:lnTo>
                    <a:pt x="143" y="632"/>
                  </a:lnTo>
                  <a:lnTo>
                    <a:pt x="135" y="632"/>
                  </a:lnTo>
                  <a:lnTo>
                    <a:pt x="121" y="633"/>
                  </a:lnTo>
                  <a:lnTo>
                    <a:pt x="108" y="635"/>
                  </a:lnTo>
                  <a:lnTo>
                    <a:pt x="95" y="638"/>
                  </a:lnTo>
                  <a:lnTo>
                    <a:pt x="83" y="643"/>
                  </a:lnTo>
                  <a:lnTo>
                    <a:pt x="71" y="649"/>
                  </a:lnTo>
                  <a:lnTo>
                    <a:pt x="60" y="656"/>
                  </a:lnTo>
                  <a:lnTo>
                    <a:pt x="49" y="663"/>
                  </a:lnTo>
                  <a:lnTo>
                    <a:pt x="40" y="672"/>
                  </a:lnTo>
                  <a:lnTo>
                    <a:pt x="31" y="681"/>
                  </a:lnTo>
                  <a:lnTo>
                    <a:pt x="24" y="692"/>
                  </a:lnTo>
                  <a:lnTo>
                    <a:pt x="16" y="703"/>
                  </a:lnTo>
                  <a:lnTo>
                    <a:pt x="11" y="716"/>
                  </a:lnTo>
                  <a:lnTo>
                    <a:pt x="6" y="727"/>
                  </a:lnTo>
                  <a:lnTo>
                    <a:pt x="3" y="740"/>
                  </a:lnTo>
                  <a:lnTo>
                    <a:pt x="1" y="754"/>
                  </a:lnTo>
                  <a:lnTo>
                    <a:pt x="0" y="768"/>
                  </a:lnTo>
                  <a:lnTo>
                    <a:pt x="1" y="782"/>
                  </a:lnTo>
                  <a:lnTo>
                    <a:pt x="3" y="795"/>
                  </a:lnTo>
                  <a:lnTo>
                    <a:pt x="6" y="808"/>
                  </a:lnTo>
                  <a:lnTo>
                    <a:pt x="11" y="821"/>
                  </a:lnTo>
                  <a:lnTo>
                    <a:pt x="16" y="833"/>
                  </a:lnTo>
                  <a:lnTo>
                    <a:pt x="24" y="843"/>
                  </a:lnTo>
                  <a:lnTo>
                    <a:pt x="31" y="854"/>
                  </a:lnTo>
                  <a:lnTo>
                    <a:pt x="40" y="864"/>
                  </a:lnTo>
                  <a:lnTo>
                    <a:pt x="49" y="872"/>
                  </a:lnTo>
                  <a:lnTo>
                    <a:pt x="60" y="880"/>
                  </a:lnTo>
                  <a:lnTo>
                    <a:pt x="71" y="887"/>
                  </a:lnTo>
                  <a:lnTo>
                    <a:pt x="83" y="893"/>
                  </a:lnTo>
                  <a:lnTo>
                    <a:pt x="95" y="897"/>
                  </a:lnTo>
                  <a:lnTo>
                    <a:pt x="108" y="900"/>
                  </a:lnTo>
                  <a:lnTo>
                    <a:pt x="121" y="902"/>
                  </a:lnTo>
                  <a:lnTo>
                    <a:pt x="135" y="903"/>
                  </a:lnTo>
                  <a:lnTo>
                    <a:pt x="144" y="903"/>
                  </a:lnTo>
                  <a:lnTo>
                    <a:pt x="152" y="902"/>
                  </a:lnTo>
                  <a:lnTo>
                    <a:pt x="161" y="901"/>
                  </a:lnTo>
                  <a:lnTo>
                    <a:pt x="169" y="899"/>
                  </a:lnTo>
                  <a:lnTo>
                    <a:pt x="186" y="894"/>
                  </a:lnTo>
                  <a:lnTo>
                    <a:pt x="201" y="887"/>
                  </a:lnTo>
                  <a:lnTo>
                    <a:pt x="215" y="878"/>
                  </a:lnTo>
                  <a:lnTo>
                    <a:pt x="226" y="868"/>
                  </a:lnTo>
                  <a:lnTo>
                    <a:pt x="238" y="856"/>
                  </a:lnTo>
                  <a:lnTo>
                    <a:pt x="248" y="843"/>
                  </a:lnTo>
                  <a:lnTo>
                    <a:pt x="611" y="843"/>
                  </a:lnTo>
                  <a:lnTo>
                    <a:pt x="667" y="899"/>
                  </a:lnTo>
                  <a:lnTo>
                    <a:pt x="669" y="901"/>
                  </a:lnTo>
                  <a:lnTo>
                    <a:pt x="671" y="902"/>
                  </a:lnTo>
                  <a:lnTo>
                    <a:pt x="675" y="903"/>
                  </a:lnTo>
                  <a:lnTo>
                    <a:pt x="678" y="903"/>
                  </a:lnTo>
                  <a:lnTo>
                    <a:pt x="680" y="903"/>
                  </a:lnTo>
                  <a:lnTo>
                    <a:pt x="683" y="902"/>
                  </a:lnTo>
                  <a:lnTo>
                    <a:pt x="685" y="901"/>
                  </a:lnTo>
                  <a:lnTo>
                    <a:pt x="689" y="899"/>
                  </a:lnTo>
                  <a:lnTo>
                    <a:pt x="690" y="897"/>
                  </a:lnTo>
                  <a:lnTo>
                    <a:pt x="692" y="894"/>
                  </a:lnTo>
                  <a:lnTo>
                    <a:pt x="692" y="892"/>
                  </a:lnTo>
                  <a:lnTo>
                    <a:pt x="693" y="888"/>
                  </a:lnTo>
                  <a:lnTo>
                    <a:pt x="692" y="885"/>
                  </a:lnTo>
                  <a:lnTo>
                    <a:pt x="692" y="883"/>
                  </a:lnTo>
                  <a:lnTo>
                    <a:pt x="690" y="880"/>
                  </a:lnTo>
                  <a:lnTo>
                    <a:pt x="689" y="878"/>
                  </a:lnTo>
                  <a:lnTo>
                    <a:pt x="689" y="8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74" name="Rectangle: Rounded Corners 73">
            <a:extLst>
              <a:ext uri="{FF2B5EF4-FFF2-40B4-BE49-F238E27FC236}">
                <a16:creationId xmlns:a16="http://schemas.microsoft.com/office/drawing/2014/main" id="{48B2AB76-49B0-48CA-9652-7E0838904CE7}"/>
              </a:ext>
            </a:extLst>
          </p:cNvPr>
          <p:cNvSpPr/>
          <p:nvPr/>
        </p:nvSpPr>
        <p:spPr>
          <a:xfrm>
            <a:off x="3411256" y="1461512"/>
            <a:ext cx="2495644" cy="1876428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6B6BAB41-5263-44CC-B101-084AB34F235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644572" y="5103603"/>
            <a:ext cx="2029013" cy="95410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/>
            <a:r>
              <a:rPr lang="en-US" sz="1400" dirty="0"/>
              <a:t>Lorem ipsum 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.</a:t>
            </a:r>
          </a:p>
        </p:txBody>
      </p: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C83B00C3-2C33-47B9-BA79-F986ED554869}"/>
              </a:ext>
            </a:extLst>
          </p:cNvPr>
          <p:cNvCxnSpPr/>
          <p:nvPr/>
        </p:nvCxnSpPr>
        <p:spPr>
          <a:xfrm>
            <a:off x="3644572" y="4986352"/>
            <a:ext cx="2029013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Rectangle 84">
            <a:extLst>
              <a:ext uri="{FF2B5EF4-FFF2-40B4-BE49-F238E27FC236}">
                <a16:creationId xmlns:a16="http://schemas.microsoft.com/office/drawing/2014/main" id="{BC5F4698-8B23-4ABB-ACB0-E2A7FC468D7A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693834" y="2556612"/>
            <a:ext cx="1930488" cy="369332"/>
          </a:xfrm>
          <a:prstGeom prst="rect">
            <a:avLst/>
          </a:prstGeom>
          <a:effectLst/>
        </p:spPr>
        <p:txBody>
          <a:bodyPr wrap="square" anchor="t">
            <a:spAutoFit/>
          </a:bodyPr>
          <a:lstStyle/>
          <a:p>
            <a:pPr algn="ct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</a:t>
            </a:r>
          </a:p>
        </p:txBody>
      </p:sp>
      <p:grpSp>
        <p:nvGrpSpPr>
          <p:cNvPr id="94" name="Group 93">
            <a:extLst>
              <a:ext uri="{FF2B5EF4-FFF2-40B4-BE49-F238E27FC236}">
                <a16:creationId xmlns:a16="http://schemas.microsoft.com/office/drawing/2014/main" id="{A5725D6F-CEEE-4E03-907D-1C93B60EC6D7}"/>
              </a:ext>
            </a:extLst>
          </p:cNvPr>
          <p:cNvGrpSpPr/>
          <p:nvPr/>
        </p:nvGrpSpPr>
        <p:grpSpPr>
          <a:xfrm>
            <a:off x="4447086" y="1981456"/>
            <a:ext cx="423984" cy="419300"/>
            <a:chOff x="2598738" y="1919288"/>
            <a:chExt cx="287338" cy="284163"/>
          </a:xfrm>
          <a:solidFill>
            <a:schemeClr val="tx1">
              <a:lumMod val="50000"/>
              <a:lumOff val="50000"/>
            </a:schemeClr>
          </a:solidFill>
        </p:grpSpPr>
        <p:sp>
          <p:nvSpPr>
            <p:cNvPr id="95" name="Freeform 505">
              <a:extLst>
                <a:ext uri="{FF2B5EF4-FFF2-40B4-BE49-F238E27FC236}">
                  <a16:creationId xmlns:a16="http://schemas.microsoft.com/office/drawing/2014/main" id="{D2780EB4-38BB-4BE4-B25F-95398ED8AFC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98738" y="1982788"/>
              <a:ext cx="142875" cy="220663"/>
            </a:xfrm>
            <a:custGeom>
              <a:avLst/>
              <a:gdLst>
                <a:gd name="T0" fmla="*/ 121 w 452"/>
                <a:gd name="T1" fmla="*/ 172 h 695"/>
                <a:gd name="T2" fmla="*/ 122 w 452"/>
                <a:gd name="T3" fmla="*/ 169 h 695"/>
                <a:gd name="T4" fmla="*/ 123 w 452"/>
                <a:gd name="T5" fmla="*/ 166 h 695"/>
                <a:gd name="T6" fmla="*/ 125 w 452"/>
                <a:gd name="T7" fmla="*/ 163 h 695"/>
                <a:gd name="T8" fmla="*/ 127 w 452"/>
                <a:gd name="T9" fmla="*/ 160 h 695"/>
                <a:gd name="T10" fmla="*/ 131 w 452"/>
                <a:gd name="T11" fmla="*/ 158 h 695"/>
                <a:gd name="T12" fmla="*/ 134 w 452"/>
                <a:gd name="T13" fmla="*/ 157 h 695"/>
                <a:gd name="T14" fmla="*/ 138 w 452"/>
                <a:gd name="T15" fmla="*/ 158 h 695"/>
                <a:gd name="T16" fmla="*/ 142 w 452"/>
                <a:gd name="T17" fmla="*/ 159 h 695"/>
                <a:gd name="T18" fmla="*/ 352 w 452"/>
                <a:gd name="T19" fmla="*/ 250 h 695"/>
                <a:gd name="T20" fmla="*/ 357 w 452"/>
                <a:gd name="T21" fmla="*/ 252 h 695"/>
                <a:gd name="T22" fmla="*/ 359 w 452"/>
                <a:gd name="T23" fmla="*/ 255 h 695"/>
                <a:gd name="T24" fmla="*/ 361 w 452"/>
                <a:gd name="T25" fmla="*/ 259 h 695"/>
                <a:gd name="T26" fmla="*/ 362 w 452"/>
                <a:gd name="T27" fmla="*/ 263 h 695"/>
                <a:gd name="T28" fmla="*/ 362 w 452"/>
                <a:gd name="T29" fmla="*/ 459 h 695"/>
                <a:gd name="T30" fmla="*/ 361 w 452"/>
                <a:gd name="T31" fmla="*/ 463 h 695"/>
                <a:gd name="T32" fmla="*/ 360 w 452"/>
                <a:gd name="T33" fmla="*/ 466 h 695"/>
                <a:gd name="T34" fmla="*/ 358 w 452"/>
                <a:gd name="T35" fmla="*/ 469 h 695"/>
                <a:gd name="T36" fmla="*/ 354 w 452"/>
                <a:gd name="T37" fmla="*/ 472 h 695"/>
                <a:gd name="T38" fmla="*/ 351 w 452"/>
                <a:gd name="T39" fmla="*/ 474 h 695"/>
                <a:gd name="T40" fmla="*/ 347 w 452"/>
                <a:gd name="T41" fmla="*/ 474 h 695"/>
                <a:gd name="T42" fmla="*/ 344 w 452"/>
                <a:gd name="T43" fmla="*/ 474 h 695"/>
                <a:gd name="T44" fmla="*/ 340 w 452"/>
                <a:gd name="T45" fmla="*/ 473 h 695"/>
                <a:gd name="T46" fmla="*/ 130 w 452"/>
                <a:gd name="T47" fmla="*/ 383 h 695"/>
                <a:gd name="T48" fmla="*/ 126 w 452"/>
                <a:gd name="T49" fmla="*/ 380 h 695"/>
                <a:gd name="T50" fmla="*/ 123 w 452"/>
                <a:gd name="T51" fmla="*/ 377 h 695"/>
                <a:gd name="T52" fmla="*/ 122 w 452"/>
                <a:gd name="T53" fmla="*/ 373 h 695"/>
                <a:gd name="T54" fmla="*/ 121 w 452"/>
                <a:gd name="T55" fmla="*/ 369 h 695"/>
                <a:gd name="T56" fmla="*/ 121 w 452"/>
                <a:gd name="T57" fmla="*/ 172 h 695"/>
                <a:gd name="T58" fmla="*/ 0 w 452"/>
                <a:gd name="T59" fmla="*/ 474 h 695"/>
                <a:gd name="T60" fmla="*/ 0 w 452"/>
                <a:gd name="T61" fmla="*/ 478 h 695"/>
                <a:gd name="T62" fmla="*/ 3 w 452"/>
                <a:gd name="T63" fmla="*/ 482 h 695"/>
                <a:gd name="T64" fmla="*/ 6 w 452"/>
                <a:gd name="T65" fmla="*/ 485 h 695"/>
                <a:gd name="T66" fmla="*/ 9 w 452"/>
                <a:gd name="T67" fmla="*/ 488 h 695"/>
                <a:gd name="T68" fmla="*/ 452 w 452"/>
                <a:gd name="T69" fmla="*/ 695 h 695"/>
                <a:gd name="T70" fmla="*/ 452 w 452"/>
                <a:gd name="T71" fmla="*/ 685 h 695"/>
                <a:gd name="T72" fmla="*/ 452 w 452"/>
                <a:gd name="T73" fmla="*/ 661 h 695"/>
                <a:gd name="T74" fmla="*/ 452 w 452"/>
                <a:gd name="T75" fmla="*/ 198 h 695"/>
                <a:gd name="T76" fmla="*/ 452 w 452"/>
                <a:gd name="T77" fmla="*/ 198 h 695"/>
                <a:gd name="T78" fmla="*/ 0 w 452"/>
                <a:gd name="T79" fmla="*/ 0 h 695"/>
                <a:gd name="T80" fmla="*/ 0 w 452"/>
                <a:gd name="T81" fmla="*/ 474 h 6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52" h="695">
                  <a:moveTo>
                    <a:pt x="121" y="172"/>
                  </a:moveTo>
                  <a:lnTo>
                    <a:pt x="122" y="169"/>
                  </a:lnTo>
                  <a:lnTo>
                    <a:pt x="123" y="166"/>
                  </a:lnTo>
                  <a:lnTo>
                    <a:pt x="125" y="163"/>
                  </a:lnTo>
                  <a:lnTo>
                    <a:pt x="127" y="160"/>
                  </a:lnTo>
                  <a:lnTo>
                    <a:pt x="131" y="158"/>
                  </a:lnTo>
                  <a:lnTo>
                    <a:pt x="134" y="157"/>
                  </a:lnTo>
                  <a:lnTo>
                    <a:pt x="138" y="158"/>
                  </a:lnTo>
                  <a:lnTo>
                    <a:pt x="142" y="159"/>
                  </a:lnTo>
                  <a:lnTo>
                    <a:pt x="352" y="250"/>
                  </a:lnTo>
                  <a:lnTo>
                    <a:pt x="357" y="252"/>
                  </a:lnTo>
                  <a:lnTo>
                    <a:pt x="359" y="255"/>
                  </a:lnTo>
                  <a:lnTo>
                    <a:pt x="361" y="259"/>
                  </a:lnTo>
                  <a:lnTo>
                    <a:pt x="362" y="263"/>
                  </a:lnTo>
                  <a:lnTo>
                    <a:pt x="362" y="459"/>
                  </a:lnTo>
                  <a:lnTo>
                    <a:pt x="361" y="463"/>
                  </a:lnTo>
                  <a:lnTo>
                    <a:pt x="360" y="466"/>
                  </a:lnTo>
                  <a:lnTo>
                    <a:pt x="358" y="469"/>
                  </a:lnTo>
                  <a:lnTo>
                    <a:pt x="354" y="472"/>
                  </a:lnTo>
                  <a:lnTo>
                    <a:pt x="351" y="474"/>
                  </a:lnTo>
                  <a:lnTo>
                    <a:pt x="347" y="474"/>
                  </a:lnTo>
                  <a:lnTo>
                    <a:pt x="344" y="474"/>
                  </a:lnTo>
                  <a:lnTo>
                    <a:pt x="340" y="473"/>
                  </a:lnTo>
                  <a:lnTo>
                    <a:pt x="130" y="383"/>
                  </a:lnTo>
                  <a:lnTo>
                    <a:pt x="126" y="380"/>
                  </a:lnTo>
                  <a:lnTo>
                    <a:pt x="123" y="377"/>
                  </a:lnTo>
                  <a:lnTo>
                    <a:pt x="122" y="373"/>
                  </a:lnTo>
                  <a:lnTo>
                    <a:pt x="121" y="369"/>
                  </a:lnTo>
                  <a:lnTo>
                    <a:pt x="121" y="172"/>
                  </a:lnTo>
                  <a:close/>
                  <a:moveTo>
                    <a:pt x="0" y="474"/>
                  </a:moveTo>
                  <a:lnTo>
                    <a:pt x="0" y="478"/>
                  </a:lnTo>
                  <a:lnTo>
                    <a:pt x="3" y="482"/>
                  </a:lnTo>
                  <a:lnTo>
                    <a:pt x="6" y="485"/>
                  </a:lnTo>
                  <a:lnTo>
                    <a:pt x="9" y="488"/>
                  </a:lnTo>
                  <a:lnTo>
                    <a:pt x="452" y="695"/>
                  </a:lnTo>
                  <a:lnTo>
                    <a:pt x="452" y="685"/>
                  </a:lnTo>
                  <a:lnTo>
                    <a:pt x="452" y="661"/>
                  </a:lnTo>
                  <a:lnTo>
                    <a:pt x="452" y="198"/>
                  </a:lnTo>
                  <a:lnTo>
                    <a:pt x="452" y="198"/>
                  </a:lnTo>
                  <a:lnTo>
                    <a:pt x="0" y="0"/>
                  </a:lnTo>
                  <a:lnTo>
                    <a:pt x="0" y="4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506">
              <a:extLst>
                <a:ext uri="{FF2B5EF4-FFF2-40B4-BE49-F238E27FC236}">
                  <a16:creationId xmlns:a16="http://schemas.microsoft.com/office/drawing/2014/main" id="{4E679566-1FE4-40C3-BB0F-DE4A2AC21DFA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5088" y="1947863"/>
              <a:ext cx="201613" cy="90488"/>
            </a:xfrm>
            <a:custGeom>
              <a:avLst/>
              <a:gdLst>
                <a:gd name="T0" fmla="*/ 212 w 639"/>
                <a:gd name="T1" fmla="*/ 0 h 281"/>
                <a:gd name="T2" fmla="*/ 0 w 639"/>
                <a:gd name="T3" fmla="*/ 85 h 281"/>
                <a:gd name="T4" fmla="*/ 449 w 639"/>
                <a:gd name="T5" fmla="*/ 281 h 281"/>
                <a:gd name="T6" fmla="*/ 639 w 639"/>
                <a:gd name="T7" fmla="*/ 192 h 281"/>
                <a:gd name="T8" fmla="*/ 212 w 639"/>
                <a:gd name="T9" fmla="*/ 0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9" h="281">
                  <a:moveTo>
                    <a:pt x="212" y="0"/>
                  </a:moveTo>
                  <a:lnTo>
                    <a:pt x="0" y="85"/>
                  </a:lnTo>
                  <a:lnTo>
                    <a:pt x="449" y="281"/>
                  </a:lnTo>
                  <a:lnTo>
                    <a:pt x="639" y="192"/>
                  </a:lnTo>
                  <a:lnTo>
                    <a:pt x="21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507">
              <a:extLst>
                <a:ext uri="{FF2B5EF4-FFF2-40B4-BE49-F238E27FC236}">
                  <a16:creationId xmlns:a16="http://schemas.microsoft.com/office/drawing/2014/main" id="{281EEFA8-2E61-4EFA-B9DA-54DC24301A9B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1138" y="1984375"/>
              <a:ext cx="134938" cy="219075"/>
            </a:xfrm>
            <a:custGeom>
              <a:avLst/>
              <a:gdLst>
                <a:gd name="T0" fmla="*/ 0 w 421"/>
                <a:gd name="T1" fmla="*/ 196 h 693"/>
                <a:gd name="T2" fmla="*/ 0 w 421"/>
                <a:gd name="T3" fmla="*/ 659 h 693"/>
                <a:gd name="T4" fmla="*/ 0 w 421"/>
                <a:gd name="T5" fmla="*/ 684 h 693"/>
                <a:gd name="T6" fmla="*/ 0 w 421"/>
                <a:gd name="T7" fmla="*/ 693 h 693"/>
                <a:gd name="T8" fmla="*/ 413 w 421"/>
                <a:gd name="T9" fmla="*/ 487 h 693"/>
                <a:gd name="T10" fmla="*/ 416 w 421"/>
                <a:gd name="T11" fmla="*/ 483 h 693"/>
                <a:gd name="T12" fmla="*/ 419 w 421"/>
                <a:gd name="T13" fmla="*/ 481 h 693"/>
                <a:gd name="T14" fmla="*/ 420 w 421"/>
                <a:gd name="T15" fmla="*/ 477 h 693"/>
                <a:gd name="T16" fmla="*/ 421 w 421"/>
                <a:gd name="T17" fmla="*/ 473 h 693"/>
                <a:gd name="T18" fmla="*/ 421 w 421"/>
                <a:gd name="T19" fmla="*/ 0 h 693"/>
                <a:gd name="T20" fmla="*/ 0 w 421"/>
                <a:gd name="T21" fmla="*/ 196 h 6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21" h="693">
                  <a:moveTo>
                    <a:pt x="0" y="196"/>
                  </a:moveTo>
                  <a:lnTo>
                    <a:pt x="0" y="659"/>
                  </a:lnTo>
                  <a:lnTo>
                    <a:pt x="0" y="684"/>
                  </a:lnTo>
                  <a:lnTo>
                    <a:pt x="0" y="693"/>
                  </a:lnTo>
                  <a:lnTo>
                    <a:pt x="413" y="487"/>
                  </a:lnTo>
                  <a:lnTo>
                    <a:pt x="416" y="483"/>
                  </a:lnTo>
                  <a:lnTo>
                    <a:pt x="419" y="481"/>
                  </a:lnTo>
                  <a:lnTo>
                    <a:pt x="420" y="477"/>
                  </a:lnTo>
                  <a:lnTo>
                    <a:pt x="421" y="473"/>
                  </a:lnTo>
                  <a:lnTo>
                    <a:pt x="421" y="0"/>
                  </a:lnTo>
                  <a:lnTo>
                    <a:pt x="0" y="1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508">
              <a:extLst>
                <a:ext uri="{FF2B5EF4-FFF2-40B4-BE49-F238E27FC236}">
                  <a16:creationId xmlns:a16="http://schemas.microsoft.com/office/drawing/2014/main" id="{99C288C5-E766-43E3-8670-B6317C31032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4463" y="1919288"/>
              <a:ext cx="195263" cy="85725"/>
            </a:xfrm>
            <a:custGeom>
              <a:avLst/>
              <a:gdLst>
                <a:gd name="T0" fmla="*/ 618 w 618"/>
                <a:gd name="T1" fmla="*/ 178 h 269"/>
                <a:gd name="T2" fmla="*/ 203 w 618"/>
                <a:gd name="T3" fmla="*/ 1 h 269"/>
                <a:gd name="T4" fmla="*/ 201 w 618"/>
                <a:gd name="T5" fmla="*/ 0 h 269"/>
                <a:gd name="T6" fmla="*/ 198 w 618"/>
                <a:gd name="T7" fmla="*/ 0 h 269"/>
                <a:gd name="T8" fmla="*/ 195 w 618"/>
                <a:gd name="T9" fmla="*/ 0 h 269"/>
                <a:gd name="T10" fmla="*/ 193 w 618"/>
                <a:gd name="T11" fmla="*/ 1 h 269"/>
                <a:gd name="T12" fmla="*/ 0 w 618"/>
                <a:gd name="T13" fmla="*/ 77 h 269"/>
                <a:gd name="T14" fmla="*/ 423 w 618"/>
                <a:gd name="T15" fmla="*/ 269 h 269"/>
                <a:gd name="T16" fmla="*/ 618 w 618"/>
                <a:gd name="T17" fmla="*/ 178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8" h="269">
                  <a:moveTo>
                    <a:pt x="618" y="178"/>
                  </a:moveTo>
                  <a:lnTo>
                    <a:pt x="203" y="1"/>
                  </a:lnTo>
                  <a:lnTo>
                    <a:pt x="201" y="0"/>
                  </a:lnTo>
                  <a:lnTo>
                    <a:pt x="198" y="0"/>
                  </a:lnTo>
                  <a:lnTo>
                    <a:pt x="195" y="0"/>
                  </a:lnTo>
                  <a:lnTo>
                    <a:pt x="193" y="1"/>
                  </a:lnTo>
                  <a:lnTo>
                    <a:pt x="0" y="77"/>
                  </a:lnTo>
                  <a:lnTo>
                    <a:pt x="423" y="269"/>
                  </a:lnTo>
                  <a:lnTo>
                    <a:pt x="618" y="1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04" name="Rectangle 103">
            <a:extLst>
              <a:ext uri="{FF2B5EF4-FFF2-40B4-BE49-F238E27FC236}">
                <a16:creationId xmlns:a16="http://schemas.microsoft.com/office/drawing/2014/main" id="{01432294-4948-4CB7-9419-25800DEC371D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3644572" y="3484106"/>
            <a:ext cx="2029013" cy="1384995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/>
            <a:r>
              <a:rPr lang="en-US" sz="1400" dirty="0"/>
              <a:t>Lorem ipsum 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, sed do </a:t>
            </a:r>
            <a:r>
              <a:rPr lang="en-US" sz="1400" dirty="0" err="1"/>
              <a:t>eiusmod</a:t>
            </a:r>
            <a:r>
              <a:rPr lang="en-US" sz="1400" dirty="0"/>
              <a:t> </a:t>
            </a:r>
            <a:r>
              <a:rPr lang="en-US" sz="1400" dirty="0" err="1"/>
              <a:t>tempor</a:t>
            </a:r>
            <a:r>
              <a:rPr lang="en-US" sz="1400" dirty="0"/>
              <a:t> </a:t>
            </a:r>
            <a:r>
              <a:rPr lang="en-US" sz="1400" dirty="0" err="1"/>
              <a:t>incididunt</a:t>
            </a:r>
            <a:r>
              <a:rPr lang="en-US" sz="1400" dirty="0"/>
              <a:t>.</a:t>
            </a:r>
          </a:p>
        </p:txBody>
      </p:sp>
      <p:sp>
        <p:nvSpPr>
          <p:cNvPr id="72" name="Rectangle: Rounded Corners 71">
            <a:extLst>
              <a:ext uri="{FF2B5EF4-FFF2-40B4-BE49-F238E27FC236}">
                <a16:creationId xmlns:a16="http://schemas.microsoft.com/office/drawing/2014/main" id="{354419E5-B9C3-4431-A237-0ED381FF9F32}"/>
              </a:ext>
            </a:extLst>
          </p:cNvPr>
          <p:cNvSpPr/>
          <p:nvPr/>
        </p:nvSpPr>
        <p:spPr>
          <a:xfrm>
            <a:off x="6285102" y="1461515"/>
            <a:ext cx="2495644" cy="1876425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397CA6EB-378B-4006-85DE-278052560450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6518418" y="5103603"/>
            <a:ext cx="2029013" cy="95410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/>
            <a:r>
              <a:rPr lang="en-US" sz="1400" dirty="0"/>
              <a:t>Lorem ipsum 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.</a:t>
            </a:r>
          </a:p>
        </p:txBody>
      </p: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01AA2983-27DE-4599-978A-2D3C64B2F26E}"/>
              </a:ext>
            </a:extLst>
          </p:cNvPr>
          <p:cNvCxnSpPr/>
          <p:nvPr/>
        </p:nvCxnSpPr>
        <p:spPr>
          <a:xfrm>
            <a:off x="6518418" y="4986352"/>
            <a:ext cx="2029013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Rectangle 85">
            <a:extLst>
              <a:ext uri="{FF2B5EF4-FFF2-40B4-BE49-F238E27FC236}">
                <a16:creationId xmlns:a16="http://schemas.microsoft.com/office/drawing/2014/main" id="{2756EB6C-2F10-4BC2-A138-0E84089EAB98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6567680" y="2556612"/>
            <a:ext cx="1930488" cy="369332"/>
          </a:xfrm>
          <a:prstGeom prst="rect">
            <a:avLst/>
          </a:prstGeom>
          <a:effectLst/>
        </p:spPr>
        <p:txBody>
          <a:bodyPr wrap="square" anchor="t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LOREM IPSUM</a:t>
            </a:r>
          </a:p>
        </p:txBody>
      </p:sp>
      <p:grpSp>
        <p:nvGrpSpPr>
          <p:cNvPr id="88" name="Group 87">
            <a:extLst>
              <a:ext uri="{FF2B5EF4-FFF2-40B4-BE49-F238E27FC236}">
                <a16:creationId xmlns:a16="http://schemas.microsoft.com/office/drawing/2014/main" id="{23157D6A-C472-4C47-9BC3-BA72EAF0DF0C}"/>
              </a:ext>
            </a:extLst>
          </p:cNvPr>
          <p:cNvGrpSpPr/>
          <p:nvPr/>
        </p:nvGrpSpPr>
        <p:grpSpPr>
          <a:xfrm>
            <a:off x="7286135" y="1944317"/>
            <a:ext cx="493578" cy="493578"/>
            <a:chOff x="4319588" y="2492375"/>
            <a:chExt cx="287338" cy="287338"/>
          </a:xfrm>
          <a:solidFill>
            <a:schemeClr val="bg1"/>
          </a:solidFill>
        </p:grpSpPr>
        <p:sp>
          <p:nvSpPr>
            <p:cNvPr id="89" name="Freeform 372">
              <a:extLst>
                <a:ext uri="{FF2B5EF4-FFF2-40B4-BE49-F238E27FC236}">
                  <a16:creationId xmlns:a16="http://schemas.microsoft.com/office/drawing/2014/main" id="{BB025B93-DF25-492F-B882-AD2F654238B0}"/>
                </a:ext>
              </a:extLst>
            </p:cNvPr>
            <p:cNvSpPr>
              <a:spLocks/>
            </p:cNvSpPr>
            <p:nvPr/>
          </p:nvSpPr>
          <p:spPr bwMode="auto">
            <a:xfrm>
              <a:off x="4319588" y="2587625"/>
              <a:ext cx="287338" cy="192088"/>
            </a:xfrm>
            <a:custGeom>
              <a:avLst/>
              <a:gdLst>
                <a:gd name="T0" fmla="*/ 843 w 904"/>
                <a:gd name="T1" fmla="*/ 572 h 602"/>
                <a:gd name="T2" fmla="*/ 843 w 904"/>
                <a:gd name="T3" fmla="*/ 12 h 602"/>
                <a:gd name="T4" fmla="*/ 841 w 904"/>
                <a:gd name="T5" fmla="*/ 7 h 602"/>
                <a:gd name="T6" fmla="*/ 836 w 904"/>
                <a:gd name="T7" fmla="*/ 3 h 602"/>
                <a:gd name="T8" fmla="*/ 831 w 904"/>
                <a:gd name="T9" fmla="*/ 1 h 602"/>
                <a:gd name="T10" fmla="*/ 708 w 904"/>
                <a:gd name="T11" fmla="*/ 0 h 602"/>
                <a:gd name="T12" fmla="*/ 702 w 904"/>
                <a:gd name="T13" fmla="*/ 2 h 602"/>
                <a:gd name="T14" fmla="*/ 697 w 904"/>
                <a:gd name="T15" fmla="*/ 5 h 602"/>
                <a:gd name="T16" fmla="*/ 694 w 904"/>
                <a:gd name="T17" fmla="*/ 9 h 602"/>
                <a:gd name="T18" fmla="*/ 693 w 904"/>
                <a:gd name="T19" fmla="*/ 16 h 602"/>
                <a:gd name="T20" fmla="*/ 632 w 904"/>
                <a:gd name="T21" fmla="*/ 572 h 602"/>
                <a:gd name="T22" fmla="*/ 632 w 904"/>
                <a:gd name="T23" fmla="*/ 283 h 602"/>
                <a:gd name="T24" fmla="*/ 630 w 904"/>
                <a:gd name="T25" fmla="*/ 277 h 602"/>
                <a:gd name="T26" fmla="*/ 626 w 904"/>
                <a:gd name="T27" fmla="*/ 274 h 602"/>
                <a:gd name="T28" fmla="*/ 621 w 904"/>
                <a:gd name="T29" fmla="*/ 271 h 602"/>
                <a:gd name="T30" fmla="*/ 497 w 904"/>
                <a:gd name="T31" fmla="*/ 271 h 602"/>
                <a:gd name="T32" fmla="*/ 491 w 904"/>
                <a:gd name="T33" fmla="*/ 272 h 602"/>
                <a:gd name="T34" fmla="*/ 487 w 904"/>
                <a:gd name="T35" fmla="*/ 275 h 602"/>
                <a:gd name="T36" fmla="*/ 483 w 904"/>
                <a:gd name="T37" fmla="*/ 281 h 602"/>
                <a:gd name="T38" fmla="*/ 482 w 904"/>
                <a:gd name="T39" fmla="*/ 286 h 602"/>
                <a:gd name="T40" fmla="*/ 421 w 904"/>
                <a:gd name="T41" fmla="*/ 572 h 602"/>
                <a:gd name="T42" fmla="*/ 421 w 904"/>
                <a:gd name="T43" fmla="*/ 193 h 602"/>
                <a:gd name="T44" fmla="*/ 419 w 904"/>
                <a:gd name="T45" fmla="*/ 187 h 602"/>
                <a:gd name="T46" fmla="*/ 415 w 904"/>
                <a:gd name="T47" fmla="*/ 183 h 602"/>
                <a:gd name="T48" fmla="*/ 409 w 904"/>
                <a:gd name="T49" fmla="*/ 181 h 602"/>
                <a:gd name="T50" fmla="*/ 286 w 904"/>
                <a:gd name="T51" fmla="*/ 181 h 602"/>
                <a:gd name="T52" fmla="*/ 281 w 904"/>
                <a:gd name="T53" fmla="*/ 182 h 602"/>
                <a:gd name="T54" fmla="*/ 275 w 904"/>
                <a:gd name="T55" fmla="*/ 185 h 602"/>
                <a:gd name="T56" fmla="*/ 272 w 904"/>
                <a:gd name="T57" fmla="*/ 190 h 602"/>
                <a:gd name="T58" fmla="*/ 271 w 904"/>
                <a:gd name="T59" fmla="*/ 196 h 602"/>
                <a:gd name="T60" fmla="*/ 211 w 904"/>
                <a:gd name="T61" fmla="*/ 572 h 602"/>
                <a:gd name="T62" fmla="*/ 211 w 904"/>
                <a:gd name="T63" fmla="*/ 404 h 602"/>
                <a:gd name="T64" fmla="*/ 209 w 904"/>
                <a:gd name="T65" fmla="*/ 399 h 602"/>
                <a:gd name="T66" fmla="*/ 205 w 904"/>
                <a:gd name="T67" fmla="*/ 394 h 602"/>
                <a:gd name="T68" fmla="*/ 199 w 904"/>
                <a:gd name="T69" fmla="*/ 392 h 602"/>
                <a:gd name="T70" fmla="*/ 76 w 904"/>
                <a:gd name="T71" fmla="*/ 391 h 602"/>
                <a:gd name="T72" fmla="*/ 69 w 904"/>
                <a:gd name="T73" fmla="*/ 392 h 602"/>
                <a:gd name="T74" fmla="*/ 65 w 904"/>
                <a:gd name="T75" fmla="*/ 396 h 602"/>
                <a:gd name="T76" fmla="*/ 62 w 904"/>
                <a:gd name="T77" fmla="*/ 401 h 602"/>
                <a:gd name="T78" fmla="*/ 61 w 904"/>
                <a:gd name="T79" fmla="*/ 406 h 602"/>
                <a:gd name="T80" fmla="*/ 15 w 904"/>
                <a:gd name="T81" fmla="*/ 572 h 602"/>
                <a:gd name="T82" fmla="*/ 9 w 904"/>
                <a:gd name="T83" fmla="*/ 573 h 602"/>
                <a:gd name="T84" fmla="*/ 5 w 904"/>
                <a:gd name="T85" fmla="*/ 577 h 602"/>
                <a:gd name="T86" fmla="*/ 2 w 904"/>
                <a:gd name="T87" fmla="*/ 581 h 602"/>
                <a:gd name="T88" fmla="*/ 0 w 904"/>
                <a:gd name="T89" fmla="*/ 587 h 602"/>
                <a:gd name="T90" fmla="*/ 2 w 904"/>
                <a:gd name="T91" fmla="*/ 593 h 602"/>
                <a:gd name="T92" fmla="*/ 5 w 904"/>
                <a:gd name="T93" fmla="*/ 598 h 602"/>
                <a:gd name="T94" fmla="*/ 9 w 904"/>
                <a:gd name="T95" fmla="*/ 601 h 602"/>
                <a:gd name="T96" fmla="*/ 15 w 904"/>
                <a:gd name="T97" fmla="*/ 602 h 602"/>
                <a:gd name="T98" fmla="*/ 196 w 904"/>
                <a:gd name="T99" fmla="*/ 602 h 602"/>
                <a:gd name="T100" fmla="*/ 406 w 904"/>
                <a:gd name="T101" fmla="*/ 602 h 602"/>
                <a:gd name="T102" fmla="*/ 617 w 904"/>
                <a:gd name="T103" fmla="*/ 602 h 602"/>
                <a:gd name="T104" fmla="*/ 828 w 904"/>
                <a:gd name="T105" fmla="*/ 602 h 602"/>
                <a:gd name="T106" fmla="*/ 891 w 904"/>
                <a:gd name="T107" fmla="*/ 602 h 602"/>
                <a:gd name="T108" fmla="*/ 896 w 904"/>
                <a:gd name="T109" fmla="*/ 600 h 602"/>
                <a:gd name="T110" fmla="*/ 901 w 904"/>
                <a:gd name="T111" fmla="*/ 596 h 602"/>
                <a:gd name="T112" fmla="*/ 903 w 904"/>
                <a:gd name="T113" fmla="*/ 591 h 602"/>
                <a:gd name="T114" fmla="*/ 903 w 904"/>
                <a:gd name="T115" fmla="*/ 584 h 602"/>
                <a:gd name="T116" fmla="*/ 901 w 904"/>
                <a:gd name="T117" fmla="*/ 579 h 602"/>
                <a:gd name="T118" fmla="*/ 896 w 904"/>
                <a:gd name="T119" fmla="*/ 575 h 602"/>
                <a:gd name="T120" fmla="*/ 891 w 904"/>
                <a:gd name="T121" fmla="*/ 572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04" h="602">
                  <a:moveTo>
                    <a:pt x="889" y="572"/>
                  </a:moveTo>
                  <a:lnTo>
                    <a:pt x="843" y="572"/>
                  </a:lnTo>
                  <a:lnTo>
                    <a:pt x="843" y="16"/>
                  </a:lnTo>
                  <a:lnTo>
                    <a:pt x="843" y="12"/>
                  </a:lnTo>
                  <a:lnTo>
                    <a:pt x="842" y="9"/>
                  </a:lnTo>
                  <a:lnTo>
                    <a:pt x="841" y="7"/>
                  </a:lnTo>
                  <a:lnTo>
                    <a:pt x="838" y="5"/>
                  </a:lnTo>
                  <a:lnTo>
                    <a:pt x="836" y="3"/>
                  </a:lnTo>
                  <a:lnTo>
                    <a:pt x="834" y="2"/>
                  </a:lnTo>
                  <a:lnTo>
                    <a:pt x="831" y="1"/>
                  </a:lnTo>
                  <a:lnTo>
                    <a:pt x="828" y="1"/>
                  </a:lnTo>
                  <a:lnTo>
                    <a:pt x="708" y="0"/>
                  </a:lnTo>
                  <a:lnTo>
                    <a:pt x="704" y="1"/>
                  </a:lnTo>
                  <a:lnTo>
                    <a:pt x="702" y="2"/>
                  </a:lnTo>
                  <a:lnTo>
                    <a:pt x="699" y="3"/>
                  </a:lnTo>
                  <a:lnTo>
                    <a:pt x="697" y="5"/>
                  </a:lnTo>
                  <a:lnTo>
                    <a:pt x="695" y="7"/>
                  </a:lnTo>
                  <a:lnTo>
                    <a:pt x="694" y="9"/>
                  </a:lnTo>
                  <a:lnTo>
                    <a:pt x="693" y="12"/>
                  </a:lnTo>
                  <a:lnTo>
                    <a:pt x="693" y="16"/>
                  </a:lnTo>
                  <a:lnTo>
                    <a:pt x="693" y="572"/>
                  </a:lnTo>
                  <a:lnTo>
                    <a:pt x="632" y="572"/>
                  </a:lnTo>
                  <a:lnTo>
                    <a:pt x="632" y="286"/>
                  </a:lnTo>
                  <a:lnTo>
                    <a:pt x="632" y="283"/>
                  </a:lnTo>
                  <a:lnTo>
                    <a:pt x="631" y="281"/>
                  </a:lnTo>
                  <a:lnTo>
                    <a:pt x="630" y="277"/>
                  </a:lnTo>
                  <a:lnTo>
                    <a:pt x="628" y="275"/>
                  </a:lnTo>
                  <a:lnTo>
                    <a:pt x="626" y="274"/>
                  </a:lnTo>
                  <a:lnTo>
                    <a:pt x="623" y="272"/>
                  </a:lnTo>
                  <a:lnTo>
                    <a:pt x="621" y="271"/>
                  </a:lnTo>
                  <a:lnTo>
                    <a:pt x="617" y="271"/>
                  </a:lnTo>
                  <a:lnTo>
                    <a:pt x="497" y="271"/>
                  </a:lnTo>
                  <a:lnTo>
                    <a:pt x="494" y="271"/>
                  </a:lnTo>
                  <a:lnTo>
                    <a:pt x="491" y="272"/>
                  </a:lnTo>
                  <a:lnTo>
                    <a:pt x="489" y="274"/>
                  </a:lnTo>
                  <a:lnTo>
                    <a:pt x="487" y="275"/>
                  </a:lnTo>
                  <a:lnTo>
                    <a:pt x="484" y="277"/>
                  </a:lnTo>
                  <a:lnTo>
                    <a:pt x="483" y="281"/>
                  </a:lnTo>
                  <a:lnTo>
                    <a:pt x="482" y="283"/>
                  </a:lnTo>
                  <a:lnTo>
                    <a:pt x="482" y="286"/>
                  </a:lnTo>
                  <a:lnTo>
                    <a:pt x="482" y="572"/>
                  </a:lnTo>
                  <a:lnTo>
                    <a:pt x="421" y="572"/>
                  </a:lnTo>
                  <a:lnTo>
                    <a:pt x="421" y="196"/>
                  </a:lnTo>
                  <a:lnTo>
                    <a:pt x="421" y="193"/>
                  </a:lnTo>
                  <a:lnTo>
                    <a:pt x="420" y="190"/>
                  </a:lnTo>
                  <a:lnTo>
                    <a:pt x="419" y="187"/>
                  </a:lnTo>
                  <a:lnTo>
                    <a:pt x="417" y="185"/>
                  </a:lnTo>
                  <a:lnTo>
                    <a:pt x="415" y="183"/>
                  </a:lnTo>
                  <a:lnTo>
                    <a:pt x="413" y="182"/>
                  </a:lnTo>
                  <a:lnTo>
                    <a:pt x="409" y="181"/>
                  </a:lnTo>
                  <a:lnTo>
                    <a:pt x="406" y="181"/>
                  </a:lnTo>
                  <a:lnTo>
                    <a:pt x="286" y="181"/>
                  </a:lnTo>
                  <a:lnTo>
                    <a:pt x="283" y="181"/>
                  </a:lnTo>
                  <a:lnTo>
                    <a:pt x="281" y="182"/>
                  </a:lnTo>
                  <a:lnTo>
                    <a:pt x="277" y="183"/>
                  </a:lnTo>
                  <a:lnTo>
                    <a:pt x="275" y="185"/>
                  </a:lnTo>
                  <a:lnTo>
                    <a:pt x="273" y="187"/>
                  </a:lnTo>
                  <a:lnTo>
                    <a:pt x="272" y="190"/>
                  </a:lnTo>
                  <a:lnTo>
                    <a:pt x="271" y="193"/>
                  </a:lnTo>
                  <a:lnTo>
                    <a:pt x="271" y="196"/>
                  </a:lnTo>
                  <a:lnTo>
                    <a:pt x="271" y="572"/>
                  </a:lnTo>
                  <a:lnTo>
                    <a:pt x="211" y="572"/>
                  </a:lnTo>
                  <a:lnTo>
                    <a:pt x="211" y="406"/>
                  </a:lnTo>
                  <a:lnTo>
                    <a:pt x="211" y="404"/>
                  </a:lnTo>
                  <a:lnTo>
                    <a:pt x="210" y="401"/>
                  </a:lnTo>
                  <a:lnTo>
                    <a:pt x="209" y="399"/>
                  </a:lnTo>
                  <a:lnTo>
                    <a:pt x="207" y="396"/>
                  </a:lnTo>
                  <a:lnTo>
                    <a:pt x="205" y="394"/>
                  </a:lnTo>
                  <a:lnTo>
                    <a:pt x="201" y="393"/>
                  </a:lnTo>
                  <a:lnTo>
                    <a:pt x="199" y="392"/>
                  </a:lnTo>
                  <a:lnTo>
                    <a:pt x="196" y="391"/>
                  </a:lnTo>
                  <a:lnTo>
                    <a:pt x="76" y="391"/>
                  </a:lnTo>
                  <a:lnTo>
                    <a:pt x="73" y="392"/>
                  </a:lnTo>
                  <a:lnTo>
                    <a:pt x="69" y="392"/>
                  </a:lnTo>
                  <a:lnTo>
                    <a:pt x="67" y="394"/>
                  </a:lnTo>
                  <a:lnTo>
                    <a:pt x="65" y="396"/>
                  </a:lnTo>
                  <a:lnTo>
                    <a:pt x="63" y="399"/>
                  </a:lnTo>
                  <a:lnTo>
                    <a:pt x="62" y="401"/>
                  </a:lnTo>
                  <a:lnTo>
                    <a:pt x="61" y="404"/>
                  </a:lnTo>
                  <a:lnTo>
                    <a:pt x="61" y="406"/>
                  </a:lnTo>
                  <a:lnTo>
                    <a:pt x="61" y="572"/>
                  </a:lnTo>
                  <a:lnTo>
                    <a:pt x="15" y="572"/>
                  </a:lnTo>
                  <a:lnTo>
                    <a:pt x="13" y="572"/>
                  </a:lnTo>
                  <a:lnTo>
                    <a:pt x="9" y="573"/>
                  </a:lnTo>
                  <a:lnTo>
                    <a:pt x="7" y="575"/>
                  </a:lnTo>
                  <a:lnTo>
                    <a:pt x="5" y="577"/>
                  </a:lnTo>
                  <a:lnTo>
                    <a:pt x="3" y="579"/>
                  </a:lnTo>
                  <a:lnTo>
                    <a:pt x="2" y="581"/>
                  </a:lnTo>
                  <a:lnTo>
                    <a:pt x="1" y="584"/>
                  </a:lnTo>
                  <a:lnTo>
                    <a:pt x="0" y="587"/>
                  </a:lnTo>
                  <a:lnTo>
                    <a:pt x="1" y="591"/>
                  </a:lnTo>
                  <a:lnTo>
                    <a:pt x="2" y="593"/>
                  </a:lnTo>
                  <a:lnTo>
                    <a:pt x="3" y="596"/>
                  </a:lnTo>
                  <a:lnTo>
                    <a:pt x="5" y="598"/>
                  </a:lnTo>
                  <a:lnTo>
                    <a:pt x="7" y="600"/>
                  </a:lnTo>
                  <a:lnTo>
                    <a:pt x="9" y="601"/>
                  </a:lnTo>
                  <a:lnTo>
                    <a:pt x="13" y="602"/>
                  </a:lnTo>
                  <a:lnTo>
                    <a:pt x="15" y="602"/>
                  </a:lnTo>
                  <a:lnTo>
                    <a:pt x="76" y="602"/>
                  </a:lnTo>
                  <a:lnTo>
                    <a:pt x="196" y="602"/>
                  </a:lnTo>
                  <a:lnTo>
                    <a:pt x="286" y="602"/>
                  </a:lnTo>
                  <a:lnTo>
                    <a:pt x="406" y="602"/>
                  </a:lnTo>
                  <a:lnTo>
                    <a:pt x="497" y="602"/>
                  </a:lnTo>
                  <a:lnTo>
                    <a:pt x="617" y="602"/>
                  </a:lnTo>
                  <a:lnTo>
                    <a:pt x="708" y="602"/>
                  </a:lnTo>
                  <a:lnTo>
                    <a:pt x="828" y="602"/>
                  </a:lnTo>
                  <a:lnTo>
                    <a:pt x="889" y="602"/>
                  </a:lnTo>
                  <a:lnTo>
                    <a:pt x="891" y="602"/>
                  </a:lnTo>
                  <a:lnTo>
                    <a:pt x="894" y="601"/>
                  </a:lnTo>
                  <a:lnTo>
                    <a:pt x="896" y="600"/>
                  </a:lnTo>
                  <a:lnTo>
                    <a:pt x="898" y="598"/>
                  </a:lnTo>
                  <a:lnTo>
                    <a:pt x="901" y="596"/>
                  </a:lnTo>
                  <a:lnTo>
                    <a:pt x="902" y="593"/>
                  </a:lnTo>
                  <a:lnTo>
                    <a:pt x="903" y="591"/>
                  </a:lnTo>
                  <a:lnTo>
                    <a:pt x="904" y="587"/>
                  </a:lnTo>
                  <a:lnTo>
                    <a:pt x="903" y="584"/>
                  </a:lnTo>
                  <a:lnTo>
                    <a:pt x="902" y="581"/>
                  </a:lnTo>
                  <a:lnTo>
                    <a:pt x="901" y="579"/>
                  </a:lnTo>
                  <a:lnTo>
                    <a:pt x="898" y="577"/>
                  </a:lnTo>
                  <a:lnTo>
                    <a:pt x="896" y="575"/>
                  </a:lnTo>
                  <a:lnTo>
                    <a:pt x="894" y="573"/>
                  </a:lnTo>
                  <a:lnTo>
                    <a:pt x="891" y="572"/>
                  </a:lnTo>
                  <a:lnTo>
                    <a:pt x="889" y="5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373">
              <a:extLst>
                <a:ext uri="{FF2B5EF4-FFF2-40B4-BE49-F238E27FC236}">
                  <a16:creationId xmlns:a16="http://schemas.microsoft.com/office/drawing/2014/main" id="{58A25880-4365-4174-854D-66D5B79D70CE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8638" y="2492375"/>
              <a:ext cx="252413" cy="157163"/>
            </a:xfrm>
            <a:custGeom>
              <a:avLst/>
              <a:gdLst>
                <a:gd name="T0" fmla="*/ 77 w 797"/>
                <a:gd name="T1" fmla="*/ 494 h 497"/>
                <a:gd name="T2" fmla="*/ 97 w 797"/>
                <a:gd name="T3" fmla="*/ 483 h 497"/>
                <a:gd name="T4" fmla="*/ 112 w 797"/>
                <a:gd name="T5" fmla="*/ 466 h 497"/>
                <a:gd name="T6" fmla="*/ 120 w 797"/>
                <a:gd name="T7" fmla="*/ 443 h 497"/>
                <a:gd name="T8" fmla="*/ 116 w 797"/>
                <a:gd name="T9" fmla="*/ 416 h 497"/>
                <a:gd name="T10" fmla="*/ 267 w 797"/>
                <a:gd name="T11" fmla="*/ 298 h 497"/>
                <a:gd name="T12" fmla="*/ 300 w 797"/>
                <a:gd name="T13" fmla="*/ 299 h 497"/>
                <a:gd name="T14" fmla="*/ 325 w 797"/>
                <a:gd name="T15" fmla="*/ 287 h 497"/>
                <a:gd name="T16" fmla="*/ 451 w 797"/>
                <a:gd name="T17" fmla="*/ 327 h 497"/>
                <a:gd name="T18" fmla="*/ 454 w 797"/>
                <a:gd name="T19" fmla="*/ 349 h 497"/>
                <a:gd name="T20" fmla="*/ 464 w 797"/>
                <a:gd name="T21" fmla="*/ 369 h 497"/>
                <a:gd name="T22" fmla="*/ 482 w 797"/>
                <a:gd name="T23" fmla="*/ 384 h 497"/>
                <a:gd name="T24" fmla="*/ 505 w 797"/>
                <a:gd name="T25" fmla="*/ 391 h 497"/>
                <a:gd name="T26" fmla="*/ 529 w 797"/>
                <a:gd name="T27" fmla="*/ 389 h 497"/>
                <a:gd name="T28" fmla="*/ 550 w 797"/>
                <a:gd name="T29" fmla="*/ 378 h 497"/>
                <a:gd name="T30" fmla="*/ 564 w 797"/>
                <a:gd name="T31" fmla="*/ 360 h 497"/>
                <a:gd name="T32" fmla="*/ 571 w 797"/>
                <a:gd name="T33" fmla="*/ 337 h 497"/>
                <a:gd name="T34" fmla="*/ 565 w 797"/>
                <a:gd name="T35" fmla="*/ 304 h 497"/>
                <a:gd name="T36" fmla="*/ 724 w 797"/>
                <a:gd name="T37" fmla="*/ 119 h 497"/>
                <a:gd name="T38" fmla="*/ 750 w 797"/>
                <a:gd name="T39" fmla="*/ 119 h 497"/>
                <a:gd name="T40" fmla="*/ 771 w 797"/>
                <a:gd name="T41" fmla="*/ 110 h 497"/>
                <a:gd name="T42" fmla="*/ 787 w 797"/>
                <a:gd name="T43" fmla="*/ 94 h 497"/>
                <a:gd name="T44" fmla="*/ 796 w 797"/>
                <a:gd name="T45" fmla="*/ 72 h 497"/>
                <a:gd name="T46" fmla="*/ 796 w 797"/>
                <a:gd name="T47" fmla="*/ 48 h 497"/>
                <a:gd name="T48" fmla="*/ 787 w 797"/>
                <a:gd name="T49" fmla="*/ 27 h 497"/>
                <a:gd name="T50" fmla="*/ 771 w 797"/>
                <a:gd name="T51" fmla="*/ 10 h 497"/>
                <a:gd name="T52" fmla="*/ 750 w 797"/>
                <a:gd name="T53" fmla="*/ 1 h 497"/>
                <a:gd name="T54" fmla="*/ 725 w 797"/>
                <a:gd name="T55" fmla="*/ 1 h 497"/>
                <a:gd name="T56" fmla="*/ 703 w 797"/>
                <a:gd name="T57" fmla="*/ 10 h 497"/>
                <a:gd name="T58" fmla="*/ 687 w 797"/>
                <a:gd name="T59" fmla="*/ 27 h 497"/>
                <a:gd name="T60" fmla="*/ 678 w 797"/>
                <a:gd name="T61" fmla="*/ 48 h 497"/>
                <a:gd name="T62" fmla="*/ 680 w 797"/>
                <a:gd name="T63" fmla="*/ 79 h 497"/>
                <a:gd name="T64" fmla="*/ 531 w 797"/>
                <a:gd name="T65" fmla="*/ 275 h 497"/>
                <a:gd name="T66" fmla="*/ 504 w 797"/>
                <a:gd name="T67" fmla="*/ 272 h 497"/>
                <a:gd name="T68" fmla="*/ 478 w 797"/>
                <a:gd name="T69" fmla="*/ 281 h 497"/>
                <a:gd name="T70" fmla="*/ 345 w 797"/>
                <a:gd name="T71" fmla="*/ 248 h 497"/>
                <a:gd name="T72" fmla="*/ 344 w 797"/>
                <a:gd name="T73" fmla="*/ 229 h 497"/>
                <a:gd name="T74" fmla="*/ 336 w 797"/>
                <a:gd name="T75" fmla="*/ 207 h 497"/>
                <a:gd name="T76" fmla="*/ 319 w 797"/>
                <a:gd name="T77" fmla="*/ 191 h 497"/>
                <a:gd name="T78" fmla="*/ 298 w 797"/>
                <a:gd name="T79" fmla="*/ 181 h 497"/>
                <a:gd name="T80" fmla="*/ 273 w 797"/>
                <a:gd name="T81" fmla="*/ 181 h 497"/>
                <a:gd name="T82" fmla="*/ 252 w 797"/>
                <a:gd name="T83" fmla="*/ 191 h 497"/>
                <a:gd name="T84" fmla="*/ 236 w 797"/>
                <a:gd name="T85" fmla="*/ 207 h 497"/>
                <a:gd name="T86" fmla="*/ 226 w 797"/>
                <a:gd name="T87" fmla="*/ 229 h 497"/>
                <a:gd name="T88" fmla="*/ 227 w 797"/>
                <a:gd name="T89" fmla="*/ 254 h 497"/>
                <a:gd name="T90" fmla="*/ 86 w 797"/>
                <a:gd name="T91" fmla="*/ 382 h 497"/>
                <a:gd name="T92" fmla="*/ 53 w 797"/>
                <a:gd name="T93" fmla="*/ 377 h 497"/>
                <a:gd name="T94" fmla="*/ 31 w 797"/>
                <a:gd name="T95" fmla="*/ 383 h 497"/>
                <a:gd name="T96" fmla="*/ 13 w 797"/>
                <a:gd name="T97" fmla="*/ 398 h 497"/>
                <a:gd name="T98" fmla="*/ 2 w 797"/>
                <a:gd name="T99" fmla="*/ 419 h 497"/>
                <a:gd name="T100" fmla="*/ 0 w 797"/>
                <a:gd name="T101" fmla="*/ 443 h 497"/>
                <a:gd name="T102" fmla="*/ 6 w 797"/>
                <a:gd name="T103" fmla="*/ 466 h 497"/>
                <a:gd name="T104" fmla="*/ 21 w 797"/>
                <a:gd name="T105" fmla="*/ 483 h 497"/>
                <a:gd name="T106" fmla="*/ 42 w 797"/>
                <a:gd name="T107" fmla="*/ 494 h 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97" h="497">
                  <a:moveTo>
                    <a:pt x="60" y="497"/>
                  </a:moveTo>
                  <a:lnTo>
                    <a:pt x="65" y="497"/>
                  </a:lnTo>
                  <a:lnTo>
                    <a:pt x="72" y="496"/>
                  </a:lnTo>
                  <a:lnTo>
                    <a:pt x="77" y="494"/>
                  </a:lnTo>
                  <a:lnTo>
                    <a:pt x="83" y="493"/>
                  </a:lnTo>
                  <a:lnTo>
                    <a:pt x="89" y="489"/>
                  </a:lnTo>
                  <a:lnTo>
                    <a:pt x="93" y="486"/>
                  </a:lnTo>
                  <a:lnTo>
                    <a:pt x="97" y="483"/>
                  </a:lnTo>
                  <a:lnTo>
                    <a:pt x="102" y="480"/>
                  </a:lnTo>
                  <a:lnTo>
                    <a:pt x="106" y="475"/>
                  </a:lnTo>
                  <a:lnTo>
                    <a:pt x="109" y="470"/>
                  </a:lnTo>
                  <a:lnTo>
                    <a:pt x="112" y="466"/>
                  </a:lnTo>
                  <a:lnTo>
                    <a:pt x="115" y="460"/>
                  </a:lnTo>
                  <a:lnTo>
                    <a:pt x="117" y="455"/>
                  </a:lnTo>
                  <a:lnTo>
                    <a:pt x="119" y="449"/>
                  </a:lnTo>
                  <a:lnTo>
                    <a:pt x="120" y="443"/>
                  </a:lnTo>
                  <a:lnTo>
                    <a:pt x="120" y="437"/>
                  </a:lnTo>
                  <a:lnTo>
                    <a:pt x="119" y="429"/>
                  </a:lnTo>
                  <a:lnTo>
                    <a:pt x="118" y="423"/>
                  </a:lnTo>
                  <a:lnTo>
                    <a:pt x="116" y="416"/>
                  </a:lnTo>
                  <a:lnTo>
                    <a:pt x="114" y="410"/>
                  </a:lnTo>
                  <a:lnTo>
                    <a:pt x="251" y="290"/>
                  </a:lnTo>
                  <a:lnTo>
                    <a:pt x="259" y="295"/>
                  </a:lnTo>
                  <a:lnTo>
                    <a:pt x="267" y="298"/>
                  </a:lnTo>
                  <a:lnTo>
                    <a:pt x="277" y="301"/>
                  </a:lnTo>
                  <a:lnTo>
                    <a:pt x="285" y="302"/>
                  </a:lnTo>
                  <a:lnTo>
                    <a:pt x="293" y="301"/>
                  </a:lnTo>
                  <a:lnTo>
                    <a:pt x="300" y="299"/>
                  </a:lnTo>
                  <a:lnTo>
                    <a:pt x="307" y="297"/>
                  </a:lnTo>
                  <a:lnTo>
                    <a:pt x="313" y="294"/>
                  </a:lnTo>
                  <a:lnTo>
                    <a:pt x="318" y="291"/>
                  </a:lnTo>
                  <a:lnTo>
                    <a:pt x="325" y="287"/>
                  </a:lnTo>
                  <a:lnTo>
                    <a:pt x="329" y="282"/>
                  </a:lnTo>
                  <a:lnTo>
                    <a:pt x="333" y="277"/>
                  </a:lnTo>
                  <a:lnTo>
                    <a:pt x="451" y="324"/>
                  </a:lnTo>
                  <a:lnTo>
                    <a:pt x="451" y="327"/>
                  </a:lnTo>
                  <a:lnTo>
                    <a:pt x="451" y="332"/>
                  </a:lnTo>
                  <a:lnTo>
                    <a:pt x="451" y="337"/>
                  </a:lnTo>
                  <a:lnTo>
                    <a:pt x="452" y="343"/>
                  </a:lnTo>
                  <a:lnTo>
                    <a:pt x="454" y="349"/>
                  </a:lnTo>
                  <a:lnTo>
                    <a:pt x="456" y="354"/>
                  </a:lnTo>
                  <a:lnTo>
                    <a:pt x="458" y="360"/>
                  </a:lnTo>
                  <a:lnTo>
                    <a:pt x="461" y="365"/>
                  </a:lnTo>
                  <a:lnTo>
                    <a:pt x="464" y="369"/>
                  </a:lnTo>
                  <a:lnTo>
                    <a:pt x="469" y="374"/>
                  </a:lnTo>
                  <a:lnTo>
                    <a:pt x="473" y="378"/>
                  </a:lnTo>
                  <a:lnTo>
                    <a:pt x="477" y="381"/>
                  </a:lnTo>
                  <a:lnTo>
                    <a:pt x="482" y="384"/>
                  </a:lnTo>
                  <a:lnTo>
                    <a:pt x="488" y="386"/>
                  </a:lnTo>
                  <a:lnTo>
                    <a:pt x="493" y="389"/>
                  </a:lnTo>
                  <a:lnTo>
                    <a:pt x="499" y="391"/>
                  </a:lnTo>
                  <a:lnTo>
                    <a:pt x="505" y="391"/>
                  </a:lnTo>
                  <a:lnTo>
                    <a:pt x="511" y="392"/>
                  </a:lnTo>
                  <a:lnTo>
                    <a:pt x="518" y="391"/>
                  </a:lnTo>
                  <a:lnTo>
                    <a:pt x="523" y="391"/>
                  </a:lnTo>
                  <a:lnTo>
                    <a:pt x="529" y="389"/>
                  </a:lnTo>
                  <a:lnTo>
                    <a:pt x="535" y="386"/>
                  </a:lnTo>
                  <a:lnTo>
                    <a:pt x="540" y="384"/>
                  </a:lnTo>
                  <a:lnTo>
                    <a:pt x="545" y="381"/>
                  </a:lnTo>
                  <a:lnTo>
                    <a:pt x="550" y="378"/>
                  </a:lnTo>
                  <a:lnTo>
                    <a:pt x="553" y="374"/>
                  </a:lnTo>
                  <a:lnTo>
                    <a:pt x="558" y="369"/>
                  </a:lnTo>
                  <a:lnTo>
                    <a:pt x="561" y="365"/>
                  </a:lnTo>
                  <a:lnTo>
                    <a:pt x="564" y="360"/>
                  </a:lnTo>
                  <a:lnTo>
                    <a:pt x="567" y="354"/>
                  </a:lnTo>
                  <a:lnTo>
                    <a:pt x="568" y="349"/>
                  </a:lnTo>
                  <a:lnTo>
                    <a:pt x="570" y="343"/>
                  </a:lnTo>
                  <a:lnTo>
                    <a:pt x="571" y="337"/>
                  </a:lnTo>
                  <a:lnTo>
                    <a:pt x="571" y="332"/>
                  </a:lnTo>
                  <a:lnTo>
                    <a:pt x="570" y="322"/>
                  </a:lnTo>
                  <a:lnTo>
                    <a:pt x="568" y="312"/>
                  </a:lnTo>
                  <a:lnTo>
                    <a:pt x="565" y="304"/>
                  </a:lnTo>
                  <a:lnTo>
                    <a:pt x="560" y="296"/>
                  </a:lnTo>
                  <a:lnTo>
                    <a:pt x="711" y="114"/>
                  </a:lnTo>
                  <a:lnTo>
                    <a:pt x="717" y="117"/>
                  </a:lnTo>
                  <a:lnTo>
                    <a:pt x="724" y="119"/>
                  </a:lnTo>
                  <a:lnTo>
                    <a:pt x="730" y="120"/>
                  </a:lnTo>
                  <a:lnTo>
                    <a:pt x="737" y="120"/>
                  </a:lnTo>
                  <a:lnTo>
                    <a:pt x="743" y="120"/>
                  </a:lnTo>
                  <a:lnTo>
                    <a:pt x="750" y="119"/>
                  </a:lnTo>
                  <a:lnTo>
                    <a:pt x="755" y="118"/>
                  </a:lnTo>
                  <a:lnTo>
                    <a:pt x="760" y="116"/>
                  </a:lnTo>
                  <a:lnTo>
                    <a:pt x="766" y="113"/>
                  </a:lnTo>
                  <a:lnTo>
                    <a:pt x="771" y="110"/>
                  </a:lnTo>
                  <a:lnTo>
                    <a:pt x="775" y="106"/>
                  </a:lnTo>
                  <a:lnTo>
                    <a:pt x="780" y="103"/>
                  </a:lnTo>
                  <a:lnTo>
                    <a:pt x="784" y="99"/>
                  </a:lnTo>
                  <a:lnTo>
                    <a:pt x="787" y="94"/>
                  </a:lnTo>
                  <a:lnTo>
                    <a:pt x="790" y="89"/>
                  </a:lnTo>
                  <a:lnTo>
                    <a:pt x="792" y="84"/>
                  </a:lnTo>
                  <a:lnTo>
                    <a:pt x="795" y="79"/>
                  </a:lnTo>
                  <a:lnTo>
                    <a:pt x="796" y="72"/>
                  </a:lnTo>
                  <a:lnTo>
                    <a:pt x="797" y="67"/>
                  </a:lnTo>
                  <a:lnTo>
                    <a:pt x="797" y="60"/>
                  </a:lnTo>
                  <a:lnTo>
                    <a:pt x="797" y="54"/>
                  </a:lnTo>
                  <a:lnTo>
                    <a:pt x="796" y="48"/>
                  </a:lnTo>
                  <a:lnTo>
                    <a:pt x="795" y="42"/>
                  </a:lnTo>
                  <a:lnTo>
                    <a:pt x="792" y="37"/>
                  </a:lnTo>
                  <a:lnTo>
                    <a:pt x="790" y="31"/>
                  </a:lnTo>
                  <a:lnTo>
                    <a:pt x="787" y="27"/>
                  </a:lnTo>
                  <a:lnTo>
                    <a:pt x="784" y="22"/>
                  </a:lnTo>
                  <a:lnTo>
                    <a:pt x="780" y="17"/>
                  </a:lnTo>
                  <a:lnTo>
                    <a:pt x="775" y="14"/>
                  </a:lnTo>
                  <a:lnTo>
                    <a:pt x="771" y="10"/>
                  </a:lnTo>
                  <a:lnTo>
                    <a:pt x="766" y="8"/>
                  </a:lnTo>
                  <a:lnTo>
                    <a:pt x="760" y="5"/>
                  </a:lnTo>
                  <a:lnTo>
                    <a:pt x="755" y="2"/>
                  </a:lnTo>
                  <a:lnTo>
                    <a:pt x="750" y="1"/>
                  </a:lnTo>
                  <a:lnTo>
                    <a:pt x="743" y="0"/>
                  </a:lnTo>
                  <a:lnTo>
                    <a:pt x="737" y="0"/>
                  </a:lnTo>
                  <a:lnTo>
                    <a:pt x="731" y="0"/>
                  </a:lnTo>
                  <a:lnTo>
                    <a:pt x="725" y="1"/>
                  </a:lnTo>
                  <a:lnTo>
                    <a:pt x="719" y="2"/>
                  </a:lnTo>
                  <a:lnTo>
                    <a:pt x="713" y="5"/>
                  </a:lnTo>
                  <a:lnTo>
                    <a:pt x="709" y="8"/>
                  </a:lnTo>
                  <a:lnTo>
                    <a:pt x="703" y="10"/>
                  </a:lnTo>
                  <a:lnTo>
                    <a:pt x="699" y="14"/>
                  </a:lnTo>
                  <a:lnTo>
                    <a:pt x="695" y="17"/>
                  </a:lnTo>
                  <a:lnTo>
                    <a:pt x="691" y="22"/>
                  </a:lnTo>
                  <a:lnTo>
                    <a:pt x="687" y="27"/>
                  </a:lnTo>
                  <a:lnTo>
                    <a:pt x="684" y="31"/>
                  </a:lnTo>
                  <a:lnTo>
                    <a:pt x="682" y="37"/>
                  </a:lnTo>
                  <a:lnTo>
                    <a:pt x="680" y="42"/>
                  </a:lnTo>
                  <a:lnTo>
                    <a:pt x="678" y="48"/>
                  </a:lnTo>
                  <a:lnTo>
                    <a:pt x="677" y="54"/>
                  </a:lnTo>
                  <a:lnTo>
                    <a:pt x="677" y="60"/>
                  </a:lnTo>
                  <a:lnTo>
                    <a:pt x="678" y="70"/>
                  </a:lnTo>
                  <a:lnTo>
                    <a:pt x="680" y="79"/>
                  </a:lnTo>
                  <a:lnTo>
                    <a:pt x="683" y="87"/>
                  </a:lnTo>
                  <a:lnTo>
                    <a:pt x="688" y="96"/>
                  </a:lnTo>
                  <a:lnTo>
                    <a:pt x="537" y="277"/>
                  </a:lnTo>
                  <a:lnTo>
                    <a:pt x="531" y="275"/>
                  </a:lnTo>
                  <a:lnTo>
                    <a:pt x="524" y="273"/>
                  </a:lnTo>
                  <a:lnTo>
                    <a:pt x="518" y="272"/>
                  </a:lnTo>
                  <a:lnTo>
                    <a:pt x="511" y="271"/>
                  </a:lnTo>
                  <a:lnTo>
                    <a:pt x="504" y="272"/>
                  </a:lnTo>
                  <a:lnTo>
                    <a:pt x="496" y="273"/>
                  </a:lnTo>
                  <a:lnTo>
                    <a:pt x="490" y="275"/>
                  </a:lnTo>
                  <a:lnTo>
                    <a:pt x="484" y="278"/>
                  </a:lnTo>
                  <a:lnTo>
                    <a:pt x="478" y="281"/>
                  </a:lnTo>
                  <a:lnTo>
                    <a:pt x="472" y="286"/>
                  </a:lnTo>
                  <a:lnTo>
                    <a:pt x="467" y="291"/>
                  </a:lnTo>
                  <a:lnTo>
                    <a:pt x="463" y="295"/>
                  </a:lnTo>
                  <a:lnTo>
                    <a:pt x="345" y="248"/>
                  </a:lnTo>
                  <a:lnTo>
                    <a:pt x="345" y="245"/>
                  </a:lnTo>
                  <a:lnTo>
                    <a:pt x="345" y="240"/>
                  </a:lnTo>
                  <a:lnTo>
                    <a:pt x="345" y="235"/>
                  </a:lnTo>
                  <a:lnTo>
                    <a:pt x="344" y="229"/>
                  </a:lnTo>
                  <a:lnTo>
                    <a:pt x="343" y="223"/>
                  </a:lnTo>
                  <a:lnTo>
                    <a:pt x="341" y="218"/>
                  </a:lnTo>
                  <a:lnTo>
                    <a:pt x="339" y="213"/>
                  </a:lnTo>
                  <a:lnTo>
                    <a:pt x="336" y="207"/>
                  </a:lnTo>
                  <a:lnTo>
                    <a:pt x="332" y="203"/>
                  </a:lnTo>
                  <a:lnTo>
                    <a:pt x="328" y="199"/>
                  </a:lnTo>
                  <a:lnTo>
                    <a:pt x="324" y="194"/>
                  </a:lnTo>
                  <a:lnTo>
                    <a:pt x="319" y="191"/>
                  </a:lnTo>
                  <a:lnTo>
                    <a:pt x="314" y="188"/>
                  </a:lnTo>
                  <a:lnTo>
                    <a:pt x="309" y="186"/>
                  </a:lnTo>
                  <a:lnTo>
                    <a:pt x="303" y="184"/>
                  </a:lnTo>
                  <a:lnTo>
                    <a:pt x="298" y="181"/>
                  </a:lnTo>
                  <a:lnTo>
                    <a:pt x="292" y="181"/>
                  </a:lnTo>
                  <a:lnTo>
                    <a:pt x="285" y="180"/>
                  </a:lnTo>
                  <a:lnTo>
                    <a:pt x="280" y="181"/>
                  </a:lnTo>
                  <a:lnTo>
                    <a:pt x="273" y="181"/>
                  </a:lnTo>
                  <a:lnTo>
                    <a:pt x="268" y="184"/>
                  </a:lnTo>
                  <a:lnTo>
                    <a:pt x="262" y="186"/>
                  </a:lnTo>
                  <a:lnTo>
                    <a:pt x="257" y="188"/>
                  </a:lnTo>
                  <a:lnTo>
                    <a:pt x="252" y="191"/>
                  </a:lnTo>
                  <a:lnTo>
                    <a:pt x="248" y="194"/>
                  </a:lnTo>
                  <a:lnTo>
                    <a:pt x="243" y="199"/>
                  </a:lnTo>
                  <a:lnTo>
                    <a:pt x="239" y="203"/>
                  </a:lnTo>
                  <a:lnTo>
                    <a:pt x="236" y="207"/>
                  </a:lnTo>
                  <a:lnTo>
                    <a:pt x="233" y="213"/>
                  </a:lnTo>
                  <a:lnTo>
                    <a:pt x="230" y="218"/>
                  </a:lnTo>
                  <a:lnTo>
                    <a:pt x="228" y="223"/>
                  </a:lnTo>
                  <a:lnTo>
                    <a:pt x="226" y="229"/>
                  </a:lnTo>
                  <a:lnTo>
                    <a:pt x="225" y="235"/>
                  </a:lnTo>
                  <a:lnTo>
                    <a:pt x="225" y="240"/>
                  </a:lnTo>
                  <a:lnTo>
                    <a:pt x="226" y="248"/>
                  </a:lnTo>
                  <a:lnTo>
                    <a:pt x="227" y="254"/>
                  </a:lnTo>
                  <a:lnTo>
                    <a:pt x="229" y="261"/>
                  </a:lnTo>
                  <a:lnTo>
                    <a:pt x="231" y="267"/>
                  </a:lnTo>
                  <a:lnTo>
                    <a:pt x="94" y="387"/>
                  </a:lnTo>
                  <a:lnTo>
                    <a:pt x="86" y="382"/>
                  </a:lnTo>
                  <a:lnTo>
                    <a:pt x="78" y="379"/>
                  </a:lnTo>
                  <a:lnTo>
                    <a:pt x="68" y="377"/>
                  </a:lnTo>
                  <a:lnTo>
                    <a:pt x="60" y="377"/>
                  </a:lnTo>
                  <a:lnTo>
                    <a:pt x="53" y="377"/>
                  </a:lnTo>
                  <a:lnTo>
                    <a:pt x="47" y="378"/>
                  </a:lnTo>
                  <a:lnTo>
                    <a:pt x="42" y="379"/>
                  </a:lnTo>
                  <a:lnTo>
                    <a:pt x="36" y="381"/>
                  </a:lnTo>
                  <a:lnTo>
                    <a:pt x="31" y="383"/>
                  </a:lnTo>
                  <a:lnTo>
                    <a:pt x="26" y="386"/>
                  </a:lnTo>
                  <a:lnTo>
                    <a:pt x="21" y="391"/>
                  </a:lnTo>
                  <a:lnTo>
                    <a:pt x="17" y="394"/>
                  </a:lnTo>
                  <a:lnTo>
                    <a:pt x="13" y="398"/>
                  </a:lnTo>
                  <a:lnTo>
                    <a:pt x="9" y="402"/>
                  </a:lnTo>
                  <a:lnTo>
                    <a:pt x="6" y="408"/>
                  </a:lnTo>
                  <a:lnTo>
                    <a:pt x="4" y="413"/>
                  </a:lnTo>
                  <a:lnTo>
                    <a:pt x="2" y="419"/>
                  </a:lnTo>
                  <a:lnTo>
                    <a:pt x="1" y="425"/>
                  </a:lnTo>
                  <a:lnTo>
                    <a:pt x="0" y="430"/>
                  </a:lnTo>
                  <a:lnTo>
                    <a:pt x="0" y="437"/>
                  </a:lnTo>
                  <a:lnTo>
                    <a:pt x="0" y="443"/>
                  </a:lnTo>
                  <a:lnTo>
                    <a:pt x="1" y="449"/>
                  </a:lnTo>
                  <a:lnTo>
                    <a:pt x="2" y="455"/>
                  </a:lnTo>
                  <a:lnTo>
                    <a:pt x="4" y="460"/>
                  </a:lnTo>
                  <a:lnTo>
                    <a:pt x="6" y="466"/>
                  </a:lnTo>
                  <a:lnTo>
                    <a:pt x="9" y="470"/>
                  </a:lnTo>
                  <a:lnTo>
                    <a:pt x="13" y="475"/>
                  </a:lnTo>
                  <a:lnTo>
                    <a:pt x="17" y="480"/>
                  </a:lnTo>
                  <a:lnTo>
                    <a:pt x="21" y="483"/>
                  </a:lnTo>
                  <a:lnTo>
                    <a:pt x="26" y="486"/>
                  </a:lnTo>
                  <a:lnTo>
                    <a:pt x="31" y="489"/>
                  </a:lnTo>
                  <a:lnTo>
                    <a:pt x="36" y="493"/>
                  </a:lnTo>
                  <a:lnTo>
                    <a:pt x="42" y="494"/>
                  </a:lnTo>
                  <a:lnTo>
                    <a:pt x="47" y="496"/>
                  </a:lnTo>
                  <a:lnTo>
                    <a:pt x="53" y="497"/>
                  </a:lnTo>
                  <a:lnTo>
                    <a:pt x="60" y="4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05" name="Rectangle 104">
            <a:extLst>
              <a:ext uri="{FF2B5EF4-FFF2-40B4-BE49-F238E27FC236}">
                <a16:creationId xmlns:a16="http://schemas.microsoft.com/office/drawing/2014/main" id="{38C2249A-6566-4C6F-9A6E-E94866E2EF06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6518418" y="3484106"/>
            <a:ext cx="2029013" cy="1384995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/>
            <a:r>
              <a:rPr lang="en-US" sz="1400" dirty="0"/>
              <a:t>Lorem ipsum 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, sed do </a:t>
            </a:r>
            <a:r>
              <a:rPr lang="en-US" sz="1400" dirty="0" err="1"/>
              <a:t>eiusmod</a:t>
            </a:r>
            <a:r>
              <a:rPr lang="en-US" sz="1400" dirty="0"/>
              <a:t> </a:t>
            </a:r>
            <a:r>
              <a:rPr lang="en-US" sz="1400" dirty="0" err="1"/>
              <a:t>tempor</a:t>
            </a:r>
            <a:r>
              <a:rPr lang="en-US" sz="1400" dirty="0"/>
              <a:t> </a:t>
            </a:r>
            <a:r>
              <a:rPr lang="en-US" sz="1400" dirty="0" err="1"/>
              <a:t>incididunt</a:t>
            </a:r>
            <a:r>
              <a:rPr lang="en-US" sz="1400" dirty="0"/>
              <a:t>.</a:t>
            </a:r>
          </a:p>
        </p:txBody>
      </p:sp>
      <p:sp>
        <p:nvSpPr>
          <p:cNvPr id="71" name="Rectangle: Rounded Corners 70">
            <a:extLst>
              <a:ext uri="{FF2B5EF4-FFF2-40B4-BE49-F238E27FC236}">
                <a16:creationId xmlns:a16="http://schemas.microsoft.com/office/drawing/2014/main" id="{26F4FA40-E7E8-4E56-BF7B-8EEEF9468AFF}"/>
              </a:ext>
            </a:extLst>
          </p:cNvPr>
          <p:cNvSpPr/>
          <p:nvPr/>
        </p:nvSpPr>
        <p:spPr>
          <a:xfrm>
            <a:off x="9158947" y="1461515"/>
            <a:ext cx="2495644" cy="1876425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E964AC45-87C3-4AF8-8531-1A706D5933DE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9392263" y="5103603"/>
            <a:ext cx="2029013" cy="95410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/>
            <a:r>
              <a:rPr lang="en-US" sz="1400" dirty="0"/>
              <a:t>Lorem ipsum 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.</a:t>
            </a:r>
          </a:p>
        </p:txBody>
      </p: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4923127A-3041-4A9A-AA96-2484C4A94FA1}"/>
              </a:ext>
            </a:extLst>
          </p:cNvPr>
          <p:cNvCxnSpPr/>
          <p:nvPr/>
        </p:nvCxnSpPr>
        <p:spPr>
          <a:xfrm>
            <a:off x="9392263" y="4986352"/>
            <a:ext cx="2029013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Rectangle 86">
            <a:extLst>
              <a:ext uri="{FF2B5EF4-FFF2-40B4-BE49-F238E27FC236}">
                <a16:creationId xmlns:a16="http://schemas.microsoft.com/office/drawing/2014/main" id="{107FF007-E7A9-42E8-9F20-0F1764C5EE4D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9441525" y="2556612"/>
            <a:ext cx="1930488" cy="369332"/>
          </a:xfrm>
          <a:prstGeom prst="rect">
            <a:avLst/>
          </a:prstGeom>
          <a:effectLst/>
        </p:spPr>
        <p:txBody>
          <a:bodyPr wrap="square" anchor="t">
            <a:spAutoFit/>
          </a:bodyPr>
          <a:lstStyle/>
          <a:p>
            <a:pPr algn="ct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</a:t>
            </a:r>
          </a:p>
        </p:txBody>
      </p:sp>
      <p:grpSp>
        <p:nvGrpSpPr>
          <p:cNvPr id="99" name="Group 98">
            <a:extLst>
              <a:ext uri="{FF2B5EF4-FFF2-40B4-BE49-F238E27FC236}">
                <a16:creationId xmlns:a16="http://schemas.microsoft.com/office/drawing/2014/main" id="{F42F5676-72C4-4480-9729-CB9BF8709D5A}"/>
              </a:ext>
            </a:extLst>
          </p:cNvPr>
          <p:cNvGrpSpPr/>
          <p:nvPr/>
        </p:nvGrpSpPr>
        <p:grpSpPr>
          <a:xfrm>
            <a:off x="10147066" y="1944317"/>
            <a:ext cx="519406" cy="493578"/>
            <a:chOff x="5465763" y="1358900"/>
            <a:chExt cx="287337" cy="273050"/>
          </a:xfrm>
          <a:solidFill>
            <a:schemeClr val="tx1">
              <a:lumMod val="50000"/>
              <a:lumOff val="50000"/>
            </a:schemeClr>
          </a:solidFill>
        </p:grpSpPr>
        <p:sp>
          <p:nvSpPr>
            <p:cNvPr id="100" name="Freeform 567">
              <a:extLst>
                <a:ext uri="{FF2B5EF4-FFF2-40B4-BE49-F238E27FC236}">
                  <a16:creationId xmlns:a16="http://schemas.microsoft.com/office/drawing/2014/main" id="{6F99A6A1-9486-480D-A460-00951B599C4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86413" y="1446213"/>
              <a:ext cx="76200" cy="76200"/>
            </a:xfrm>
            <a:custGeom>
              <a:avLst/>
              <a:gdLst>
                <a:gd name="T0" fmla="*/ 106 w 241"/>
                <a:gd name="T1" fmla="*/ 72 h 241"/>
                <a:gd name="T2" fmla="*/ 108 w 241"/>
                <a:gd name="T3" fmla="*/ 66 h 241"/>
                <a:gd name="T4" fmla="*/ 112 w 241"/>
                <a:gd name="T5" fmla="*/ 63 h 241"/>
                <a:gd name="T6" fmla="*/ 117 w 241"/>
                <a:gd name="T7" fmla="*/ 61 h 241"/>
                <a:gd name="T8" fmla="*/ 124 w 241"/>
                <a:gd name="T9" fmla="*/ 60 h 241"/>
                <a:gd name="T10" fmla="*/ 129 w 241"/>
                <a:gd name="T11" fmla="*/ 63 h 241"/>
                <a:gd name="T12" fmla="*/ 133 w 241"/>
                <a:gd name="T13" fmla="*/ 66 h 241"/>
                <a:gd name="T14" fmla="*/ 136 w 241"/>
                <a:gd name="T15" fmla="*/ 72 h 241"/>
                <a:gd name="T16" fmla="*/ 136 w 241"/>
                <a:gd name="T17" fmla="*/ 165 h 241"/>
                <a:gd name="T18" fmla="*/ 134 w 241"/>
                <a:gd name="T19" fmla="*/ 171 h 241"/>
                <a:gd name="T20" fmla="*/ 131 w 241"/>
                <a:gd name="T21" fmla="*/ 176 h 241"/>
                <a:gd name="T22" fmla="*/ 126 w 241"/>
                <a:gd name="T23" fmla="*/ 179 h 241"/>
                <a:gd name="T24" fmla="*/ 121 w 241"/>
                <a:gd name="T25" fmla="*/ 180 h 241"/>
                <a:gd name="T26" fmla="*/ 115 w 241"/>
                <a:gd name="T27" fmla="*/ 179 h 241"/>
                <a:gd name="T28" fmla="*/ 110 w 241"/>
                <a:gd name="T29" fmla="*/ 176 h 241"/>
                <a:gd name="T30" fmla="*/ 107 w 241"/>
                <a:gd name="T31" fmla="*/ 171 h 241"/>
                <a:gd name="T32" fmla="*/ 106 w 241"/>
                <a:gd name="T33" fmla="*/ 165 h 241"/>
                <a:gd name="T34" fmla="*/ 121 w 241"/>
                <a:gd name="T35" fmla="*/ 241 h 241"/>
                <a:gd name="T36" fmla="*/ 145 w 241"/>
                <a:gd name="T37" fmla="*/ 238 h 241"/>
                <a:gd name="T38" fmla="*/ 168 w 241"/>
                <a:gd name="T39" fmla="*/ 232 h 241"/>
                <a:gd name="T40" fmla="*/ 188 w 241"/>
                <a:gd name="T41" fmla="*/ 220 h 241"/>
                <a:gd name="T42" fmla="*/ 205 w 241"/>
                <a:gd name="T43" fmla="*/ 206 h 241"/>
                <a:gd name="T44" fmla="*/ 220 w 241"/>
                <a:gd name="T45" fmla="*/ 188 h 241"/>
                <a:gd name="T46" fmla="*/ 231 w 241"/>
                <a:gd name="T47" fmla="*/ 167 h 241"/>
                <a:gd name="T48" fmla="*/ 238 w 241"/>
                <a:gd name="T49" fmla="*/ 145 h 241"/>
                <a:gd name="T50" fmla="*/ 241 w 241"/>
                <a:gd name="T51" fmla="*/ 120 h 241"/>
                <a:gd name="T52" fmla="*/ 238 w 241"/>
                <a:gd name="T53" fmla="*/ 96 h 241"/>
                <a:gd name="T54" fmla="*/ 231 w 241"/>
                <a:gd name="T55" fmla="*/ 74 h 241"/>
                <a:gd name="T56" fmla="*/ 220 w 241"/>
                <a:gd name="T57" fmla="*/ 53 h 241"/>
                <a:gd name="T58" fmla="*/ 205 w 241"/>
                <a:gd name="T59" fmla="*/ 35 h 241"/>
                <a:gd name="T60" fmla="*/ 188 w 241"/>
                <a:gd name="T61" fmla="*/ 20 h 241"/>
                <a:gd name="T62" fmla="*/ 168 w 241"/>
                <a:gd name="T63" fmla="*/ 9 h 241"/>
                <a:gd name="T64" fmla="*/ 145 w 241"/>
                <a:gd name="T65" fmla="*/ 2 h 241"/>
                <a:gd name="T66" fmla="*/ 121 w 241"/>
                <a:gd name="T67" fmla="*/ 0 h 241"/>
                <a:gd name="T68" fmla="*/ 96 w 241"/>
                <a:gd name="T69" fmla="*/ 2 h 241"/>
                <a:gd name="T70" fmla="*/ 73 w 241"/>
                <a:gd name="T71" fmla="*/ 9 h 241"/>
                <a:gd name="T72" fmla="*/ 53 w 241"/>
                <a:gd name="T73" fmla="*/ 20 h 241"/>
                <a:gd name="T74" fmla="*/ 36 w 241"/>
                <a:gd name="T75" fmla="*/ 35 h 241"/>
                <a:gd name="T76" fmla="*/ 21 w 241"/>
                <a:gd name="T77" fmla="*/ 53 h 241"/>
                <a:gd name="T78" fmla="*/ 10 w 241"/>
                <a:gd name="T79" fmla="*/ 74 h 241"/>
                <a:gd name="T80" fmla="*/ 3 w 241"/>
                <a:gd name="T81" fmla="*/ 96 h 241"/>
                <a:gd name="T82" fmla="*/ 0 w 241"/>
                <a:gd name="T83" fmla="*/ 120 h 241"/>
                <a:gd name="T84" fmla="*/ 3 w 241"/>
                <a:gd name="T85" fmla="*/ 145 h 241"/>
                <a:gd name="T86" fmla="*/ 10 w 241"/>
                <a:gd name="T87" fmla="*/ 167 h 241"/>
                <a:gd name="T88" fmla="*/ 21 w 241"/>
                <a:gd name="T89" fmla="*/ 188 h 241"/>
                <a:gd name="T90" fmla="*/ 36 w 241"/>
                <a:gd name="T91" fmla="*/ 206 h 241"/>
                <a:gd name="T92" fmla="*/ 53 w 241"/>
                <a:gd name="T93" fmla="*/ 220 h 241"/>
                <a:gd name="T94" fmla="*/ 73 w 241"/>
                <a:gd name="T95" fmla="*/ 232 h 241"/>
                <a:gd name="T96" fmla="*/ 96 w 241"/>
                <a:gd name="T97" fmla="*/ 238 h 241"/>
                <a:gd name="T98" fmla="*/ 121 w 241"/>
                <a:gd name="T99" fmla="*/ 24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41" h="241">
                  <a:moveTo>
                    <a:pt x="106" y="75"/>
                  </a:moveTo>
                  <a:lnTo>
                    <a:pt x="106" y="72"/>
                  </a:lnTo>
                  <a:lnTo>
                    <a:pt x="107" y="70"/>
                  </a:lnTo>
                  <a:lnTo>
                    <a:pt x="108" y="66"/>
                  </a:lnTo>
                  <a:lnTo>
                    <a:pt x="110" y="64"/>
                  </a:lnTo>
                  <a:lnTo>
                    <a:pt x="112" y="63"/>
                  </a:lnTo>
                  <a:lnTo>
                    <a:pt x="115" y="61"/>
                  </a:lnTo>
                  <a:lnTo>
                    <a:pt x="117" y="61"/>
                  </a:lnTo>
                  <a:lnTo>
                    <a:pt x="121" y="60"/>
                  </a:lnTo>
                  <a:lnTo>
                    <a:pt x="124" y="60"/>
                  </a:lnTo>
                  <a:lnTo>
                    <a:pt x="126" y="61"/>
                  </a:lnTo>
                  <a:lnTo>
                    <a:pt x="129" y="63"/>
                  </a:lnTo>
                  <a:lnTo>
                    <a:pt x="131" y="64"/>
                  </a:lnTo>
                  <a:lnTo>
                    <a:pt x="133" y="66"/>
                  </a:lnTo>
                  <a:lnTo>
                    <a:pt x="134" y="70"/>
                  </a:lnTo>
                  <a:lnTo>
                    <a:pt x="136" y="72"/>
                  </a:lnTo>
                  <a:lnTo>
                    <a:pt x="136" y="75"/>
                  </a:lnTo>
                  <a:lnTo>
                    <a:pt x="136" y="165"/>
                  </a:lnTo>
                  <a:lnTo>
                    <a:pt x="136" y="168"/>
                  </a:lnTo>
                  <a:lnTo>
                    <a:pt x="134" y="171"/>
                  </a:lnTo>
                  <a:lnTo>
                    <a:pt x="133" y="174"/>
                  </a:lnTo>
                  <a:lnTo>
                    <a:pt x="131" y="176"/>
                  </a:lnTo>
                  <a:lnTo>
                    <a:pt x="129" y="178"/>
                  </a:lnTo>
                  <a:lnTo>
                    <a:pt x="126" y="179"/>
                  </a:lnTo>
                  <a:lnTo>
                    <a:pt x="124" y="180"/>
                  </a:lnTo>
                  <a:lnTo>
                    <a:pt x="121" y="180"/>
                  </a:lnTo>
                  <a:lnTo>
                    <a:pt x="117" y="180"/>
                  </a:lnTo>
                  <a:lnTo>
                    <a:pt x="115" y="179"/>
                  </a:lnTo>
                  <a:lnTo>
                    <a:pt x="112" y="178"/>
                  </a:lnTo>
                  <a:lnTo>
                    <a:pt x="110" y="176"/>
                  </a:lnTo>
                  <a:lnTo>
                    <a:pt x="108" y="174"/>
                  </a:lnTo>
                  <a:lnTo>
                    <a:pt x="107" y="171"/>
                  </a:lnTo>
                  <a:lnTo>
                    <a:pt x="106" y="168"/>
                  </a:lnTo>
                  <a:lnTo>
                    <a:pt x="106" y="165"/>
                  </a:lnTo>
                  <a:lnTo>
                    <a:pt x="106" y="75"/>
                  </a:lnTo>
                  <a:close/>
                  <a:moveTo>
                    <a:pt x="121" y="241"/>
                  </a:moveTo>
                  <a:lnTo>
                    <a:pt x="132" y="240"/>
                  </a:lnTo>
                  <a:lnTo>
                    <a:pt x="145" y="238"/>
                  </a:lnTo>
                  <a:lnTo>
                    <a:pt x="156" y="236"/>
                  </a:lnTo>
                  <a:lnTo>
                    <a:pt x="168" y="232"/>
                  </a:lnTo>
                  <a:lnTo>
                    <a:pt x="177" y="226"/>
                  </a:lnTo>
                  <a:lnTo>
                    <a:pt x="188" y="220"/>
                  </a:lnTo>
                  <a:lnTo>
                    <a:pt x="197" y="213"/>
                  </a:lnTo>
                  <a:lnTo>
                    <a:pt x="205" y="206"/>
                  </a:lnTo>
                  <a:lnTo>
                    <a:pt x="214" y="197"/>
                  </a:lnTo>
                  <a:lnTo>
                    <a:pt x="220" y="188"/>
                  </a:lnTo>
                  <a:lnTo>
                    <a:pt x="227" y="178"/>
                  </a:lnTo>
                  <a:lnTo>
                    <a:pt x="231" y="167"/>
                  </a:lnTo>
                  <a:lnTo>
                    <a:pt x="235" y="156"/>
                  </a:lnTo>
                  <a:lnTo>
                    <a:pt x="238" y="145"/>
                  </a:lnTo>
                  <a:lnTo>
                    <a:pt x="241" y="133"/>
                  </a:lnTo>
                  <a:lnTo>
                    <a:pt x="241" y="120"/>
                  </a:lnTo>
                  <a:lnTo>
                    <a:pt x="241" y="108"/>
                  </a:lnTo>
                  <a:lnTo>
                    <a:pt x="238" y="96"/>
                  </a:lnTo>
                  <a:lnTo>
                    <a:pt x="235" y="85"/>
                  </a:lnTo>
                  <a:lnTo>
                    <a:pt x="231" y="74"/>
                  </a:lnTo>
                  <a:lnTo>
                    <a:pt x="227" y="63"/>
                  </a:lnTo>
                  <a:lnTo>
                    <a:pt x="220" y="53"/>
                  </a:lnTo>
                  <a:lnTo>
                    <a:pt x="214" y="44"/>
                  </a:lnTo>
                  <a:lnTo>
                    <a:pt x="205" y="35"/>
                  </a:lnTo>
                  <a:lnTo>
                    <a:pt x="197" y="28"/>
                  </a:lnTo>
                  <a:lnTo>
                    <a:pt x="188" y="20"/>
                  </a:lnTo>
                  <a:lnTo>
                    <a:pt x="177" y="15"/>
                  </a:lnTo>
                  <a:lnTo>
                    <a:pt x="168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1"/>
                  </a:lnTo>
                  <a:lnTo>
                    <a:pt x="121" y="0"/>
                  </a:lnTo>
                  <a:lnTo>
                    <a:pt x="109" y="1"/>
                  </a:lnTo>
                  <a:lnTo>
                    <a:pt x="96" y="2"/>
                  </a:lnTo>
                  <a:lnTo>
                    <a:pt x="85" y="5"/>
                  </a:lnTo>
                  <a:lnTo>
                    <a:pt x="73" y="9"/>
                  </a:lnTo>
                  <a:lnTo>
                    <a:pt x="64" y="15"/>
                  </a:lnTo>
                  <a:lnTo>
                    <a:pt x="53" y="20"/>
                  </a:lnTo>
                  <a:lnTo>
                    <a:pt x="44" y="28"/>
                  </a:lnTo>
                  <a:lnTo>
                    <a:pt x="36" y="35"/>
                  </a:lnTo>
                  <a:lnTo>
                    <a:pt x="27" y="44"/>
                  </a:lnTo>
                  <a:lnTo>
                    <a:pt x="21" y="53"/>
                  </a:lnTo>
                  <a:lnTo>
                    <a:pt x="14" y="63"/>
                  </a:lnTo>
                  <a:lnTo>
                    <a:pt x="10" y="74"/>
                  </a:lnTo>
                  <a:lnTo>
                    <a:pt x="6" y="85"/>
                  </a:lnTo>
                  <a:lnTo>
                    <a:pt x="3" y="96"/>
                  </a:lnTo>
                  <a:lnTo>
                    <a:pt x="0" y="108"/>
                  </a:lnTo>
                  <a:lnTo>
                    <a:pt x="0" y="120"/>
                  </a:lnTo>
                  <a:lnTo>
                    <a:pt x="0" y="133"/>
                  </a:lnTo>
                  <a:lnTo>
                    <a:pt x="3" y="145"/>
                  </a:lnTo>
                  <a:lnTo>
                    <a:pt x="6" y="156"/>
                  </a:lnTo>
                  <a:lnTo>
                    <a:pt x="10" y="167"/>
                  </a:lnTo>
                  <a:lnTo>
                    <a:pt x="14" y="178"/>
                  </a:lnTo>
                  <a:lnTo>
                    <a:pt x="21" y="188"/>
                  </a:lnTo>
                  <a:lnTo>
                    <a:pt x="27" y="197"/>
                  </a:lnTo>
                  <a:lnTo>
                    <a:pt x="36" y="206"/>
                  </a:lnTo>
                  <a:lnTo>
                    <a:pt x="44" y="213"/>
                  </a:lnTo>
                  <a:lnTo>
                    <a:pt x="53" y="220"/>
                  </a:lnTo>
                  <a:lnTo>
                    <a:pt x="64" y="226"/>
                  </a:lnTo>
                  <a:lnTo>
                    <a:pt x="73" y="232"/>
                  </a:lnTo>
                  <a:lnTo>
                    <a:pt x="85" y="236"/>
                  </a:lnTo>
                  <a:lnTo>
                    <a:pt x="96" y="238"/>
                  </a:lnTo>
                  <a:lnTo>
                    <a:pt x="109" y="240"/>
                  </a:lnTo>
                  <a:lnTo>
                    <a:pt x="121" y="2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568">
              <a:extLst>
                <a:ext uri="{FF2B5EF4-FFF2-40B4-BE49-F238E27FC236}">
                  <a16:creationId xmlns:a16="http://schemas.microsoft.com/office/drawing/2014/main" id="{7CEF44C5-62C4-406E-B233-C64124DDAC8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43563" y="1358900"/>
              <a:ext cx="76200" cy="77788"/>
            </a:xfrm>
            <a:custGeom>
              <a:avLst/>
              <a:gdLst>
                <a:gd name="T0" fmla="*/ 106 w 241"/>
                <a:gd name="T1" fmla="*/ 73 h 242"/>
                <a:gd name="T2" fmla="*/ 108 w 241"/>
                <a:gd name="T3" fmla="*/ 68 h 242"/>
                <a:gd name="T4" fmla="*/ 112 w 241"/>
                <a:gd name="T5" fmla="*/ 64 h 242"/>
                <a:gd name="T6" fmla="*/ 118 w 241"/>
                <a:gd name="T7" fmla="*/ 62 h 242"/>
                <a:gd name="T8" fmla="*/ 123 w 241"/>
                <a:gd name="T9" fmla="*/ 62 h 242"/>
                <a:gd name="T10" fmla="*/ 128 w 241"/>
                <a:gd name="T11" fmla="*/ 64 h 242"/>
                <a:gd name="T12" fmla="*/ 133 w 241"/>
                <a:gd name="T13" fmla="*/ 68 h 242"/>
                <a:gd name="T14" fmla="*/ 135 w 241"/>
                <a:gd name="T15" fmla="*/ 73 h 242"/>
                <a:gd name="T16" fmla="*/ 135 w 241"/>
                <a:gd name="T17" fmla="*/ 167 h 242"/>
                <a:gd name="T18" fmla="*/ 134 w 241"/>
                <a:gd name="T19" fmla="*/ 172 h 242"/>
                <a:gd name="T20" fmla="*/ 130 w 241"/>
                <a:gd name="T21" fmla="*/ 177 h 242"/>
                <a:gd name="T22" fmla="*/ 126 w 241"/>
                <a:gd name="T23" fmla="*/ 181 h 242"/>
                <a:gd name="T24" fmla="*/ 120 w 241"/>
                <a:gd name="T25" fmla="*/ 182 h 242"/>
                <a:gd name="T26" fmla="*/ 114 w 241"/>
                <a:gd name="T27" fmla="*/ 181 h 242"/>
                <a:gd name="T28" fmla="*/ 110 w 241"/>
                <a:gd name="T29" fmla="*/ 177 h 242"/>
                <a:gd name="T30" fmla="*/ 107 w 241"/>
                <a:gd name="T31" fmla="*/ 172 h 242"/>
                <a:gd name="T32" fmla="*/ 105 w 241"/>
                <a:gd name="T33" fmla="*/ 167 h 242"/>
                <a:gd name="T34" fmla="*/ 120 w 241"/>
                <a:gd name="T35" fmla="*/ 242 h 242"/>
                <a:gd name="T36" fmla="*/ 144 w 241"/>
                <a:gd name="T37" fmla="*/ 240 h 242"/>
                <a:gd name="T38" fmla="*/ 167 w 241"/>
                <a:gd name="T39" fmla="*/ 232 h 242"/>
                <a:gd name="T40" fmla="*/ 187 w 241"/>
                <a:gd name="T41" fmla="*/ 221 h 242"/>
                <a:gd name="T42" fmla="*/ 206 w 241"/>
                <a:gd name="T43" fmla="*/ 206 h 242"/>
                <a:gd name="T44" fmla="*/ 221 w 241"/>
                <a:gd name="T45" fmla="*/ 188 h 242"/>
                <a:gd name="T46" fmla="*/ 231 w 241"/>
                <a:gd name="T47" fmla="*/ 168 h 242"/>
                <a:gd name="T48" fmla="*/ 238 w 241"/>
                <a:gd name="T49" fmla="*/ 145 h 242"/>
                <a:gd name="T50" fmla="*/ 241 w 241"/>
                <a:gd name="T51" fmla="*/ 122 h 242"/>
                <a:gd name="T52" fmla="*/ 238 w 241"/>
                <a:gd name="T53" fmla="*/ 97 h 242"/>
                <a:gd name="T54" fmla="*/ 231 w 241"/>
                <a:gd name="T55" fmla="*/ 74 h 242"/>
                <a:gd name="T56" fmla="*/ 221 w 241"/>
                <a:gd name="T57" fmla="*/ 54 h 242"/>
                <a:gd name="T58" fmla="*/ 206 w 241"/>
                <a:gd name="T59" fmla="*/ 36 h 242"/>
                <a:gd name="T60" fmla="*/ 187 w 241"/>
                <a:gd name="T61" fmla="*/ 22 h 242"/>
                <a:gd name="T62" fmla="*/ 167 w 241"/>
                <a:gd name="T63" fmla="*/ 10 h 242"/>
                <a:gd name="T64" fmla="*/ 144 w 241"/>
                <a:gd name="T65" fmla="*/ 4 h 242"/>
                <a:gd name="T66" fmla="*/ 120 w 241"/>
                <a:gd name="T67" fmla="*/ 0 h 242"/>
                <a:gd name="T68" fmla="*/ 96 w 241"/>
                <a:gd name="T69" fmla="*/ 4 h 242"/>
                <a:gd name="T70" fmla="*/ 74 w 241"/>
                <a:gd name="T71" fmla="*/ 10 h 242"/>
                <a:gd name="T72" fmla="*/ 53 w 241"/>
                <a:gd name="T73" fmla="*/ 22 h 242"/>
                <a:gd name="T74" fmla="*/ 35 w 241"/>
                <a:gd name="T75" fmla="*/ 36 h 242"/>
                <a:gd name="T76" fmla="*/ 20 w 241"/>
                <a:gd name="T77" fmla="*/ 54 h 242"/>
                <a:gd name="T78" fmla="*/ 9 w 241"/>
                <a:gd name="T79" fmla="*/ 74 h 242"/>
                <a:gd name="T80" fmla="*/ 2 w 241"/>
                <a:gd name="T81" fmla="*/ 97 h 242"/>
                <a:gd name="T82" fmla="*/ 0 w 241"/>
                <a:gd name="T83" fmla="*/ 122 h 242"/>
                <a:gd name="T84" fmla="*/ 2 w 241"/>
                <a:gd name="T85" fmla="*/ 145 h 242"/>
                <a:gd name="T86" fmla="*/ 9 w 241"/>
                <a:gd name="T87" fmla="*/ 168 h 242"/>
                <a:gd name="T88" fmla="*/ 20 w 241"/>
                <a:gd name="T89" fmla="*/ 188 h 242"/>
                <a:gd name="T90" fmla="*/ 35 w 241"/>
                <a:gd name="T91" fmla="*/ 206 h 242"/>
                <a:gd name="T92" fmla="*/ 53 w 241"/>
                <a:gd name="T93" fmla="*/ 221 h 242"/>
                <a:gd name="T94" fmla="*/ 74 w 241"/>
                <a:gd name="T95" fmla="*/ 232 h 242"/>
                <a:gd name="T96" fmla="*/ 96 w 241"/>
                <a:gd name="T97" fmla="*/ 240 h 242"/>
                <a:gd name="T98" fmla="*/ 120 w 241"/>
                <a:gd name="T99" fmla="*/ 242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41" h="242">
                  <a:moveTo>
                    <a:pt x="105" y="77"/>
                  </a:moveTo>
                  <a:lnTo>
                    <a:pt x="106" y="73"/>
                  </a:lnTo>
                  <a:lnTo>
                    <a:pt x="107" y="70"/>
                  </a:lnTo>
                  <a:lnTo>
                    <a:pt x="108" y="68"/>
                  </a:lnTo>
                  <a:lnTo>
                    <a:pt x="110" y="66"/>
                  </a:lnTo>
                  <a:lnTo>
                    <a:pt x="112" y="64"/>
                  </a:lnTo>
                  <a:lnTo>
                    <a:pt x="114" y="63"/>
                  </a:lnTo>
                  <a:lnTo>
                    <a:pt x="118" y="62"/>
                  </a:lnTo>
                  <a:lnTo>
                    <a:pt x="120" y="62"/>
                  </a:lnTo>
                  <a:lnTo>
                    <a:pt x="123" y="62"/>
                  </a:lnTo>
                  <a:lnTo>
                    <a:pt x="126" y="63"/>
                  </a:lnTo>
                  <a:lnTo>
                    <a:pt x="128" y="64"/>
                  </a:lnTo>
                  <a:lnTo>
                    <a:pt x="130" y="66"/>
                  </a:lnTo>
                  <a:lnTo>
                    <a:pt x="133" y="68"/>
                  </a:lnTo>
                  <a:lnTo>
                    <a:pt x="134" y="70"/>
                  </a:lnTo>
                  <a:lnTo>
                    <a:pt x="135" y="73"/>
                  </a:lnTo>
                  <a:lnTo>
                    <a:pt x="135" y="77"/>
                  </a:lnTo>
                  <a:lnTo>
                    <a:pt x="135" y="167"/>
                  </a:lnTo>
                  <a:lnTo>
                    <a:pt x="135" y="170"/>
                  </a:lnTo>
                  <a:lnTo>
                    <a:pt x="134" y="172"/>
                  </a:lnTo>
                  <a:lnTo>
                    <a:pt x="133" y="175"/>
                  </a:lnTo>
                  <a:lnTo>
                    <a:pt x="130" y="177"/>
                  </a:lnTo>
                  <a:lnTo>
                    <a:pt x="128" y="178"/>
                  </a:lnTo>
                  <a:lnTo>
                    <a:pt x="126" y="181"/>
                  </a:lnTo>
                  <a:lnTo>
                    <a:pt x="123" y="182"/>
                  </a:lnTo>
                  <a:lnTo>
                    <a:pt x="120" y="182"/>
                  </a:lnTo>
                  <a:lnTo>
                    <a:pt x="118" y="182"/>
                  </a:lnTo>
                  <a:lnTo>
                    <a:pt x="114" y="181"/>
                  </a:lnTo>
                  <a:lnTo>
                    <a:pt x="112" y="178"/>
                  </a:lnTo>
                  <a:lnTo>
                    <a:pt x="110" y="177"/>
                  </a:lnTo>
                  <a:lnTo>
                    <a:pt x="108" y="175"/>
                  </a:lnTo>
                  <a:lnTo>
                    <a:pt x="107" y="172"/>
                  </a:lnTo>
                  <a:lnTo>
                    <a:pt x="106" y="170"/>
                  </a:lnTo>
                  <a:lnTo>
                    <a:pt x="105" y="167"/>
                  </a:lnTo>
                  <a:lnTo>
                    <a:pt x="105" y="77"/>
                  </a:lnTo>
                  <a:close/>
                  <a:moveTo>
                    <a:pt x="120" y="242"/>
                  </a:moveTo>
                  <a:lnTo>
                    <a:pt x="133" y="241"/>
                  </a:lnTo>
                  <a:lnTo>
                    <a:pt x="144" y="240"/>
                  </a:lnTo>
                  <a:lnTo>
                    <a:pt x="156" y="236"/>
                  </a:lnTo>
                  <a:lnTo>
                    <a:pt x="167" y="232"/>
                  </a:lnTo>
                  <a:lnTo>
                    <a:pt x="178" y="227"/>
                  </a:lnTo>
                  <a:lnTo>
                    <a:pt x="187" y="221"/>
                  </a:lnTo>
                  <a:lnTo>
                    <a:pt x="197" y="214"/>
                  </a:lnTo>
                  <a:lnTo>
                    <a:pt x="206" y="206"/>
                  </a:lnTo>
                  <a:lnTo>
                    <a:pt x="213" y="198"/>
                  </a:lnTo>
                  <a:lnTo>
                    <a:pt x="221" y="188"/>
                  </a:lnTo>
                  <a:lnTo>
                    <a:pt x="226" y="178"/>
                  </a:lnTo>
                  <a:lnTo>
                    <a:pt x="231" y="168"/>
                  </a:lnTo>
                  <a:lnTo>
                    <a:pt x="236" y="157"/>
                  </a:lnTo>
                  <a:lnTo>
                    <a:pt x="238" y="145"/>
                  </a:lnTo>
                  <a:lnTo>
                    <a:pt x="240" y="133"/>
                  </a:lnTo>
                  <a:lnTo>
                    <a:pt x="241" y="122"/>
                  </a:lnTo>
                  <a:lnTo>
                    <a:pt x="240" y="109"/>
                  </a:lnTo>
                  <a:lnTo>
                    <a:pt x="238" y="97"/>
                  </a:lnTo>
                  <a:lnTo>
                    <a:pt x="236" y="85"/>
                  </a:lnTo>
                  <a:lnTo>
                    <a:pt x="231" y="74"/>
                  </a:lnTo>
                  <a:lnTo>
                    <a:pt x="226" y="64"/>
                  </a:lnTo>
                  <a:lnTo>
                    <a:pt x="221" y="54"/>
                  </a:lnTo>
                  <a:lnTo>
                    <a:pt x="213" y="44"/>
                  </a:lnTo>
                  <a:lnTo>
                    <a:pt x="206" y="36"/>
                  </a:lnTo>
                  <a:lnTo>
                    <a:pt x="197" y="28"/>
                  </a:lnTo>
                  <a:lnTo>
                    <a:pt x="187" y="22"/>
                  </a:lnTo>
                  <a:lnTo>
                    <a:pt x="178" y="15"/>
                  </a:lnTo>
                  <a:lnTo>
                    <a:pt x="167" y="10"/>
                  </a:lnTo>
                  <a:lnTo>
                    <a:pt x="156" y="7"/>
                  </a:lnTo>
                  <a:lnTo>
                    <a:pt x="144" y="4"/>
                  </a:lnTo>
                  <a:lnTo>
                    <a:pt x="133" y="2"/>
                  </a:lnTo>
                  <a:lnTo>
                    <a:pt x="120" y="0"/>
                  </a:lnTo>
                  <a:lnTo>
                    <a:pt x="108" y="2"/>
                  </a:lnTo>
                  <a:lnTo>
                    <a:pt x="96" y="4"/>
                  </a:lnTo>
                  <a:lnTo>
                    <a:pt x="84" y="6"/>
                  </a:lnTo>
                  <a:lnTo>
                    <a:pt x="74" y="10"/>
                  </a:lnTo>
                  <a:lnTo>
                    <a:pt x="63" y="15"/>
                  </a:lnTo>
                  <a:lnTo>
                    <a:pt x="53" y="22"/>
                  </a:lnTo>
                  <a:lnTo>
                    <a:pt x="44" y="28"/>
                  </a:lnTo>
                  <a:lnTo>
                    <a:pt x="35" y="36"/>
                  </a:lnTo>
                  <a:lnTo>
                    <a:pt x="27" y="44"/>
                  </a:lnTo>
                  <a:lnTo>
                    <a:pt x="20" y="54"/>
                  </a:lnTo>
                  <a:lnTo>
                    <a:pt x="15" y="64"/>
                  </a:lnTo>
                  <a:lnTo>
                    <a:pt x="9" y="74"/>
                  </a:lnTo>
                  <a:lnTo>
                    <a:pt x="5" y="85"/>
                  </a:lnTo>
                  <a:lnTo>
                    <a:pt x="2" y="97"/>
                  </a:lnTo>
                  <a:lnTo>
                    <a:pt x="1" y="109"/>
                  </a:lnTo>
                  <a:lnTo>
                    <a:pt x="0" y="122"/>
                  </a:lnTo>
                  <a:lnTo>
                    <a:pt x="1" y="133"/>
                  </a:lnTo>
                  <a:lnTo>
                    <a:pt x="2" y="145"/>
                  </a:lnTo>
                  <a:lnTo>
                    <a:pt x="5" y="157"/>
                  </a:lnTo>
                  <a:lnTo>
                    <a:pt x="9" y="168"/>
                  </a:lnTo>
                  <a:lnTo>
                    <a:pt x="15" y="178"/>
                  </a:lnTo>
                  <a:lnTo>
                    <a:pt x="20" y="188"/>
                  </a:lnTo>
                  <a:lnTo>
                    <a:pt x="27" y="198"/>
                  </a:lnTo>
                  <a:lnTo>
                    <a:pt x="35" y="206"/>
                  </a:lnTo>
                  <a:lnTo>
                    <a:pt x="44" y="214"/>
                  </a:lnTo>
                  <a:lnTo>
                    <a:pt x="53" y="221"/>
                  </a:lnTo>
                  <a:lnTo>
                    <a:pt x="63" y="227"/>
                  </a:lnTo>
                  <a:lnTo>
                    <a:pt x="74" y="232"/>
                  </a:lnTo>
                  <a:lnTo>
                    <a:pt x="84" y="236"/>
                  </a:lnTo>
                  <a:lnTo>
                    <a:pt x="96" y="240"/>
                  </a:lnTo>
                  <a:lnTo>
                    <a:pt x="108" y="241"/>
                  </a:lnTo>
                  <a:lnTo>
                    <a:pt x="120" y="2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569">
              <a:extLst>
                <a:ext uri="{FF2B5EF4-FFF2-40B4-BE49-F238E27FC236}">
                  <a16:creationId xmlns:a16="http://schemas.microsoft.com/office/drawing/2014/main" id="{18000F98-1CEC-48D9-8DF6-24691B23AEC0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5763" y="1517650"/>
              <a:ext cx="57150" cy="95250"/>
            </a:xfrm>
            <a:custGeom>
              <a:avLst/>
              <a:gdLst>
                <a:gd name="T0" fmla="*/ 165 w 180"/>
                <a:gd name="T1" fmla="*/ 0 h 302"/>
                <a:gd name="T2" fmla="*/ 15 w 180"/>
                <a:gd name="T3" fmla="*/ 0 h 302"/>
                <a:gd name="T4" fmla="*/ 12 w 180"/>
                <a:gd name="T5" fmla="*/ 0 h 302"/>
                <a:gd name="T6" fmla="*/ 9 w 180"/>
                <a:gd name="T7" fmla="*/ 1 h 302"/>
                <a:gd name="T8" fmla="*/ 6 w 180"/>
                <a:gd name="T9" fmla="*/ 2 h 302"/>
                <a:gd name="T10" fmla="*/ 4 w 180"/>
                <a:gd name="T11" fmla="*/ 4 h 302"/>
                <a:gd name="T12" fmla="*/ 2 w 180"/>
                <a:gd name="T13" fmla="*/ 7 h 302"/>
                <a:gd name="T14" fmla="*/ 1 w 180"/>
                <a:gd name="T15" fmla="*/ 9 h 302"/>
                <a:gd name="T16" fmla="*/ 0 w 180"/>
                <a:gd name="T17" fmla="*/ 12 h 302"/>
                <a:gd name="T18" fmla="*/ 0 w 180"/>
                <a:gd name="T19" fmla="*/ 15 h 302"/>
                <a:gd name="T20" fmla="*/ 0 w 180"/>
                <a:gd name="T21" fmla="*/ 287 h 302"/>
                <a:gd name="T22" fmla="*/ 0 w 180"/>
                <a:gd name="T23" fmla="*/ 289 h 302"/>
                <a:gd name="T24" fmla="*/ 1 w 180"/>
                <a:gd name="T25" fmla="*/ 292 h 302"/>
                <a:gd name="T26" fmla="*/ 2 w 180"/>
                <a:gd name="T27" fmla="*/ 294 h 302"/>
                <a:gd name="T28" fmla="*/ 4 w 180"/>
                <a:gd name="T29" fmla="*/ 296 h 302"/>
                <a:gd name="T30" fmla="*/ 6 w 180"/>
                <a:gd name="T31" fmla="*/ 298 h 302"/>
                <a:gd name="T32" fmla="*/ 9 w 180"/>
                <a:gd name="T33" fmla="*/ 299 h 302"/>
                <a:gd name="T34" fmla="*/ 12 w 180"/>
                <a:gd name="T35" fmla="*/ 301 h 302"/>
                <a:gd name="T36" fmla="*/ 15 w 180"/>
                <a:gd name="T37" fmla="*/ 302 h 302"/>
                <a:gd name="T38" fmla="*/ 165 w 180"/>
                <a:gd name="T39" fmla="*/ 302 h 302"/>
                <a:gd name="T40" fmla="*/ 168 w 180"/>
                <a:gd name="T41" fmla="*/ 301 h 302"/>
                <a:gd name="T42" fmla="*/ 172 w 180"/>
                <a:gd name="T43" fmla="*/ 299 h 302"/>
                <a:gd name="T44" fmla="*/ 174 w 180"/>
                <a:gd name="T45" fmla="*/ 298 h 302"/>
                <a:gd name="T46" fmla="*/ 176 w 180"/>
                <a:gd name="T47" fmla="*/ 296 h 302"/>
                <a:gd name="T48" fmla="*/ 178 w 180"/>
                <a:gd name="T49" fmla="*/ 294 h 302"/>
                <a:gd name="T50" fmla="*/ 179 w 180"/>
                <a:gd name="T51" fmla="*/ 292 h 302"/>
                <a:gd name="T52" fmla="*/ 180 w 180"/>
                <a:gd name="T53" fmla="*/ 289 h 302"/>
                <a:gd name="T54" fmla="*/ 180 w 180"/>
                <a:gd name="T55" fmla="*/ 287 h 302"/>
                <a:gd name="T56" fmla="*/ 180 w 180"/>
                <a:gd name="T57" fmla="*/ 15 h 302"/>
                <a:gd name="T58" fmla="*/ 180 w 180"/>
                <a:gd name="T59" fmla="*/ 12 h 302"/>
                <a:gd name="T60" fmla="*/ 179 w 180"/>
                <a:gd name="T61" fmla="*/ 9 h 302"/>
                <a:gd name="T62" fmla="*/ 178 w 180"/>
                <a:gd name="T63" fmla="*/ 7 h 302"/>
                <a:gd name="T64" fmla="*/ 176 w 180"/>
                <a:gd name="T65" fmla="*/ 4 h 302"/>
                <a:gd name="T66" fmla="*/ 174 w 180"/>
                <a:gd name="T67" fmla="*/ 2 h 302"/>
                <a:gd name="T68" fmla="*/ 172 w 180"/>
                <a:gd name="T69" fmla="*/ 1 h 302"/>
                <a:gd name="T70" fmla="*/ 168 w 180"/>
                <a:gd name="T71" fmla="*/ 0 h 302"/>
                <a:gd name="T72" fmla="*/ 165 w 180"/>
                <a:gd name="T73" fmla="*/ 0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80" h="302">
                  <a:moveTo>
                    <a:pt x="165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9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287"/>
                  </a:lnTo>
                  <a:lnTo>
                    <a:pt x="0" y="289"/>
                  </a:lnTo>
                  <a:lnTo>
                    <a:pt x="1" y="292"/>
                  </a:lnTo>
                  <a:lnTo>
                    <a:pt x="2" y="294"/>
                  </a:lnTo>
                  <a:lnTo>
                    <a:pt x="4" y="296"/>
                  </a:lnTo>
                  <a:lnTo>
                    <a:pt x="6" y="298"/>
                  </a:lnTo>
                  <a:lnTo>
                    <a:pt x="9" y="299"/>
                  </a:lnTo>
                  <a:lnTo>
                    <a:pt x="12" y="301"/>
                  </a:lnTo>
                  <a:lnTo>
                    <a:pt x="15" y="302"/>
                  </a:lnTo>
                  <a:lnTo>
                    <a:pt x="165" y="302"/>
                  </a:lnTo>
                  <a:lnTo>
                    <a:pt x="168" y="301"/>
                  </a:lnTo>
                  <a:lnTo>
                    <a:pt x="172" y="299"/>
                  </a:lnTo>
                  <a:lnTo>
                    <a:pt x="174" y="298"/>
                  </a:lnTo>
                  <a:lnTo>
                    <a:pt x="176" y="296"/>
                  </a:lnTo>
                  <a:lnTo>
                    <a:pt x="178" y="294"/>
                  </a:lnTo>
                  <a:lnTo>
                    <a:pt x="179" y="292"/>
                  </a:lnTo>
                  <a:lnTo>
                    <a:pt x="180" y="289"/>
                  </a:lnTo>
                  <a:lnTo>
                    <a:pt x="180" y="287"/>
                  </a:lnTo>
                  <a:lnTo>
                    <a:pt x="180" y="15"/>
                  </a:lnTo>
                  <a:lnTo>
                    <a:pt x="180" y="12"/>
                  </a:lnTo>
                  <a:lnTo>
                    <a:pt x="179" y="9"/>
                  </a:lnTo>
                  <a:lnTo>
                    <a:pt x="178" y="7"/>
                  </a:lnTo>
                  <a:lnTo>
                    <a:pt x="176" y="4"/>
                  </a:lnTo>
                  <a:lnTo>
                    <a:pt x="174" y="2"/>
                  </a:lnTo>
                  <a:lnTo>
                    <a:pt x="172" y="1"/>
                  </a:lnTo>
                  <a:lnTo>
                    <a:pt x="168" y="0"/>
                  </a:lnTo>
                  <a:lnTo>
                    <a:pt x="1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Freeform 570">
              <a:extLst>
                <a:ext uri="{FF2B5EF4-FFF2-40B4-BE49-F238E27FC236}">
                  <a16:creationId xmlns:a16="http://schemas.microsoft.com/office/drawing/2014/main" id="{1B07FEF1-F668-49DF-818D-0157763E69A4}"/>
                </a:ext>
              </a:extLst>
            </p:cNvPr>
            <p:cNvSpPr>
              <a:spLocks/>
            </p:cNvSpPr>
            <p:nvPr/>
          </p:nvSpPr>
          <p:spPr bwMode="auto">
            <a:xfrm>
              <a:off x="5527675" y="1527175"/>
              <a:ext cx="225425" cy="104775"/>
            </a:xfrm>
            <a:custGeom>
              <a:avLst/>
              <a:gdLst>
                <a:gd name="T0" fmla="*/ 688 w 708"/>
                <a:gd name="T1" fmla="*/ 110 h 331"/>
                <a:gd name="T2" fmla="*/ 665 w 708"/>
                <a:gd name="T3" fmla="*/ 95 h 331"/>
                <a:gd name="T4" fmla="*/ 644 w 708"/>
                <a:gd name="T5" fmla="*/ 87 h 331"/>
                <a:gd name="T6" fmla="*/ 622 w 708"/>
                <a:gd name="T7" fmla="*/ 85 h 331"/>
                <a:gd name="T8" fmla="*/ 583 w 708"/>
                <a:gd name="T9" fmla="*/ 91 h 331"/>
                <a:gd name="T10" fmla="*/ 502 w 708"/>
                <a:gd name="T11" fmla="*/ 137 h 331"/>
                <a:gd name="T12" fmla="*/ 486 w 708"/>
                <a:gd name="T13" fmla="*/ 162 h 331"/>
                <a:gd name="T14" fmla="*/ 468 w 708"/>
                <a:gd name="T15" fmla="*/ 175 h 331"/>
                <a:gd name="T16" fmla="*/ 445 w 708"/>
                <a:gd name="T17" fmla="*/ 180 h 331"/>
                <a:gd name="T18" fmla="*/ 226 w 708"/>
                <a:gd name="T19" fmla="*/ 180 h 331"/>
                <a:gd name="T20" fmla="*/ 218 w 708"/>
                <a:gd name="T21" fmla="*/ 178 h 331"/>
                <a:gd name="T22" fmla="*/ 213 w 708"/>
                <a:gd name="T23" fmla="*/ 172 h 331"/>
                <a:gd name="T24" fmla="*/ 211 w 708"/>
                <a:gd name="T25" fmla="*/ 162 h 331"/>
                <a:gd name="T26" fmla="*/ 216 w 708"/>
                <a:gd name="T27" fmla="*/ 155 h 331"/>
                <a:gd name="T28" fmla="*/ 223 w 708"/>
                <a:gd name="T29" fmla="*/ 151 h 331"/>
                <a:gd name="T30" fmla="*/ 437 w 708"/>
                <a:gd name="T31" fmla="*/ 150 h 331"/>
                <a:gd name="T32" fmla="*/ 461 w 708"/>
                <a:gd name="T33" fmla="*/ 143 h 331"/>
                <a:gd name="T34" fmla="*/ 475 w 708"/>
                <a:gd name="T35" fmla="*/ 122 h 331"/>
                <a:gd name="T36" fmla="*/ 478 w 708"/>
                <a:gd name="T37" fmla="*/ 102 h 331"/>
                <a:gd name="T38" fmla="*/ 470 w 708"/>
                <a:gd name="T39" fmla="*/ 84 h 331"/>
                <a:gd name="T40" fmla="*/ 451 w 708"/>
                <a:gd name="T41" fmla="*/ 67 h 331"/>
                <a:gd name="T42" fmla="*/ 422 w 708"/>
                <a:gd name="T43" fmla="*/ 60 h 331"/>
                <a:gd name="T44" fmla="*/ 389 w 708"/>
                <a:gd name="T45" fmla="*/ 60 h 331"/>
                <a:gd name="T46" fmla="*/ 365 w 708"/>
                <a:gd name="T47" fmla="*/ 60 h 331"/>
                <a:gd name="T48" fmla="*/ 339 w 708"/>
                <a:gd name="T49" fmla="*/ 60 h 331"/>
                <a:gd name="T50" fmla="*/ 307 w 708"/>
                <a:gd name="T51" fmla="*/ 60 h 331"/>
                <a:gd name="T52" fmla="*/ 246 w 708"/>
                <a:gd name="T53" fmla="*/ 24 h 331"/>
                <a:gd name="T54" fmla="*/ 181 w 708"/>
                <a:gd name="T55" fmla="*/ 3 h 331"/>
                <a:gd name="T56" fmla="*/ 15 w 708"/>
                <a:gd name="T57" fmla="*/ 0 h 331"/>
                <a:gd name="T58" fmla="*/ 8 w 708"/>
                <a:gd name="T59" fmla="*/ 2 h 331"/>
                <a:gd name="T60" fmla="*/ 1 w 708"/>
                <a:gd name="T61" fmla="*/ 10 h 331"/>
                <a:gd name="T62" fmla="*/ 0 w 708"/>
                <a:gd name="T63" fmla="*/ 223 h 331"/>
                <a:gd name="T64" fmla="*/ 7 w 708"/>
                <a:gd name="T65" fmla="*/ 236 h 331"/>
                <a:gd name="T66" fmla="*/ 90 w 708"/>
                <a:gd name="T67" fmla="*/ 265 h 331"/>
                <a:gd name="T68" fmla="*/ 205 w 708"/>
                <a:gd name="T69" fmla="*/ 306 h 331"/>
                <a:gd name="T70" fmla="*/ 281 w 708"/>
                <a:gd name="T71" fmla="*/ 328 h 331"/>
                <a:gd name="T72" fmla="*/ 321 w 708"/>
                <a:gd name="T73" fmla="*/ 331 h 331"/>
                <a:gd name="T74" fmla="*/ 348 w 708"/>
                <a:gd name="T75" fmla="*/ 326 h 331"/>
                <a:gd name="T76" fmla="*/ 408 w 708"/>
                <a:gd name="T77" fmla="*/ 303 h 331"/>
                <a:gd name="T78" fmla="*/ 494 w 708"/>
                <a:gd name="T79" fmla="*/ 258 h 331"/>
                <a:gd name="T80" fmla="*/ 557 w 708"/>
                <a:gd name="T81" fmla="*/ 223 h 331"/>
                <a:gd name="T82" fmla="*/ 636 w 708"/>
                <a:gd name="T83" fmla="*/ 181 h 331"/>
                <a:gd name="T84" fmla="*/ 703 w 708"/>
                <a:gd name="T85" fmla="*/ 147 h 331"/>
                <a:gd name="T86" fmla="*/ 708 w 708"/>
                <a:gd name="T87" fmla="*/ 139 h 331"/>
                <a:gd name="T88" fmla="*/ 706 w 708"/>
                <a:gd name="T89" fmla="*/ 128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08" h="331">
                  <a:moveTo>
                    <a:pt x="704" y="125"/>
                  </a:moveTo>
                  <a:lnTo>
                    <a:pt x="695" y="117"/>
                  </a:lnTo>
                  <a:lnTo>
                    <a:pt x="688" y="110"/>
                  </a:lnTo>
                  <a:lnTo>
                    <a:pt x="680" y="104"/>
                  </a:lnTo>
                  <a:lnTo>
                    <a:pt x="673" y="99"/>
                  </a:lnTo>
                  <a:lnTo>
                    <a:pt x="665" y="95"/>
                  </a:lnTo>
                  <a:lnTo>
                    <a:pt x="658" y="91"/>
                  </a:lnTo>
                  <a:lnTo>
                    <a:pt x="650" y="89"/>
                  </a:lnTo>
                  <a:lnTo>
                    <a:pt x="644" y="87"/>
                  </a:lnTo>
                  <a:lnTo>
                    <a:pt x="636" y="85"/>
                  </a:lnTo>
                  <a:lnTo>
                    <a:pt x="629" y="85"/>
                  </a:lnTo>
                  <a:lnTo>
                    <a:pt x="622" y="85"/>
                  </a:lnTo>
                  <a:lnTo>
                    <a:pt x="615" y="85"/>
                  </a:lnTo>
                  <a:lnTo>
                    <a:pt x="599" y="88"/>
                  </a:lnTo>
                  <a:lnTo>
                    <a:pt x="583" y="91"/>
                  </a:lnTo>
                  <a:lnTo>
                    <a:pt x="507" y="115"/>
                  </a:lnTo>
                  <a:lnTo>
                    <a:pt x="505" y="127"/>
                  </a:lnTo>
                  <a:lnTo>
                    <a:pt x="502" y="137"/>
                  </a:lnTo>
                  <a:lnTo>
                    <a:pt x="497" y="147"/>
                  </a:lnTo>
                  <a:lnTo>
                    <a:pt x="491" y="157"/>
                  </a:lnTo>
                  <a:lnTo>
                    <a:pt x="486" y="162"/>
                  </a:lnTo>
                  <a:lnTo>
                    <a:pt x="480" y="166"/>
                  </a:lnTo>
                  <a:lnTo>
                    <a:pt x="474" y="171"/>
                  </a:lnTo>
                  <a:lnTo>
                    <a:pt x="468" y="175"/>
                  </a:lnTo>
                  <a:lnTo>
                    <a:pt x="460" y="177"/>
                  </a:lnTo>
                  <a:lnTo>
                    <a:pt x="453" y="179"/>
                  </a:lnTo>
                  <a:lnTo>
                    <a:pt x="445" y="180"/>
                  </a:lnTo>
                  <a:lnTo>
                    <a:pt x="437" y="180"/>
                  </a:lnTo>
                  <a:lnTo>
                    <a:pt x="422" y="180"/>
                  </a:lnTo>
                  <a:lnTo>
                    <a:pt x="226" y="180"/>
                  </a:lnTo>
                  <a:lnTo>
                    <a:pt x="223" y="180"/>
                  </a:lnTo>
                  <a:lnTo>
                    <a:pt x="220" y="179"/>
                  </a:lnTo>
                  <a:lnTo>
                    <a:pt x="218" y="178"/>
                  </a:lnTo>
                  <a:lnTo>
                    <a:pt x="216" y="176"/>
                  </a:lnTo>
                  <a:lnTo>
                    <a:pt x="214" y="174"/>
                  </a:lnTo>
                  <a:lnTo>
                    <a:pt x="213" y="172"/>
                  </a:lnTo>
                  <a:lnTo>
                    <a:pt x="211" y="169"/>
                  </a:lnTo>
                  <a:lnTo>
                    <a:pt x="211" y="165"/>
                  </a:lnTo>
                  <a:lnTo>
                    <a:pt x="211" y="162"/>
                  </a:lnTo>
                  <a:lnTo>
                    <a:pt x="213" y="160"/>
                  </a:lnTo>
                  <a:lnTo>
                    <a:pt x="214" y="157"/>
                  </a:lnTo>
                  <a:lnTo>
                    <a:pt x="216" y="155"/>
                  </a:lnTo>
                  <a:lnTo>
                    <a:pt x="218" y="154"/>
                  </a:lnTo>
                  <a:lnTo>
                    <a:pt x="220" y="151"/>
                  </a:lnTo>
                  <a:lnTo>
                    <a:pt x="223" y="151"/>
                  </a:lnTo>
                  <a:lnTo>
                    <a:pt x="226" y="150"/>
                  </a:lnTo>
                  <a:lnTo>
                    <a:pt x="422" y="150"/>
                  </a:lnTo>
                  <a:lnTo>
                    <a:pt x="437" y="150"/>
                  </a:lnTo>
                  <a:lnTo>
                    <a:pt x="446" y="149"/>
                  </a:lnTo>
                  <a:lnTo>
                    <a:pt x="455" y="147"/>
                  </a:lnTo>
                  <a:lnTo>
                    <a:pt x="461" y="143"/>
                  </a:lnTo>
                  <a:lnTo>
                    <a:pt x="468" y="137"/>
                  </a:lnTo>
                  <a:lnTo>
                    <a:pt x="472" y="130"/>
                  </a:lnTo>
                  <a:lnTo>
                    <a:pt x="475" y="122"/>
                  </a:lnTo>
                  <a:lnTo>
                    <a:pt x="477" y="114"/>
                  </a:lnTo>
                  <a:lnTo>
                    <a:pt x="478" y="105"/>
                  </a:lnTo>
                  <a:lnTo>
                    <a:pt x="478" y="102"/>
                  </a:lnTo>
                  <a:lnTo>
                    <a:pt x="478" y="98"/>
                  </a:lnTo>
                  <a:lnTo>
                    <a:pt x="474" y="90"/>
                  </a:lnTo>
                  <a:lnTo>
                    <a:pt x="470" y="84"/>
                  </a:lnTo>
                  <a:lnTo>
                    <a:pt x="465" y="76"/>
                  </a:lnTo>
                  <a:lnTo>
                    <a:pt x="458" y="71"/>
                  </a:lnTo>
                  <a:lnTo>
                    <a:pt x="451" y="67"/>
                  </a:lnTo>
                  <a:lnTo>
                    <a:pt x="442" y="63"/>
                  </a:lnTo>
                  <a:lnTo>
                    <a:pt x="432" y="61"/>
                  </a:lnTo>
                  <a:lnTo>
                    <a:pt x="422" y="60"/>
                  </a:lnTo>
                  <a:lnTo>
                    <a:pt x="410" y="60"/>
                  </a:lnTo>
                  <a:lnTo>
                    <a:pt x="399" y="60"/>
                  </a:lnTo>
                  <a:lnTo>
                    <a:pt x="389" y="60"/>
                  </a:lnTo>
                  <a:lnTo>
                    <a:pt x="381" y="60"/>
                  </a:lnTo>
                  <a:lnTo>
                    <a:pt x="373" y="60"/>
                  </a:lnTo>
                  <a:lnTo>
                    <a:pt x="365" y="60"/>
                  </a:lnTo>
                  <a:lnTo>
                    <a:pt x="356" y="60"/>
                  </a:lnTo>
                  <a:lnTo>
                    <a:pt x="349" y="60"/>
                  </a:lnTo>
                  <a:lnTo>
                    <a:pt x="339" y="60"/>
                  </a:lnTo>
                  <a:lnTo>
                    <a:pt x="330" y="60"/>
                  </a:lnTo>
                  <a:lnTo>
                    <a:pt x="320" y="60"/>
                  </a:lnTo>
                  <a:lnTo>
                    <a:pt x="307" y="60"/>
                  </a:lnTo>
                  <a:lnTo>
                    <a:pt x="288" y="46"/>
                  </a:lnTo>
                  <a:lnTo>
                    <a:pt x="267" y="33"/>
                  </a:lnTo>
                  <a:lnTo>
                    <a:pt x="246" y="24"/>
                  </a:lnTo>
                  <a:lnTo>
                    <a:pt x="225" y="15"/>
                  </a:lnTo>
                  <a:lnTo>
                    <a:pt x="204" y="9"/>
                  </a:lnTo>
                  <a:lnTo>
                    <a:pt x="181" y="3"/>
                  </a:lnTo>
                  <a:lnTo>
                    <a:pt x="159" y="1"/>
                  </a:lnTo>
                  <a:lnTo>
                    <a:pt x="136" y="0"/>
                  </a:lnTo>
                  <a:lnTo>
                    <a:pt x="15" y="0"/>
                  </a:lnTo>
                  <a:lnTo>
                    <a:pt x="13" y="0"/>
                  </a:lnTo>
                  <a:lnTo>
                    <a:pt x="10" y="1"/>
                  </a:lnTo>
                  <a:lnTo>
                    <a:pt x="8" y="2"/>
                  </a:lnTo>
                  <a:lnTo>
                    <a:pt x="4" y="4"/>
                  </a:lnTo>
                  <a:lnTo>
                    <a:pt x="3" y="7"/>
                  </a:lnTo>
                  <a:lnTo>
                    <a:pt x="1" y="10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0" y="223"/>
                  </a:lnTo>
                  <a:lnTo>
                    <a:pt x="1" y="229"/>
                  </a:lnTo>
                  <a:lnTo>
                    <a:pt x="3" y="232"/>
                  </a:lnTo>
                  <a:lnTo>
                    <a:pt x="7" y="236"/>
                  </a:lnTo>
                  <a:lnTo>
                    <a:pt x="11" y="238"/>
                  </a:lnTo>
                  <a:lnTo>
                    <a:pt x="53" y="252"/>
                  </a:lnTo>
                  <a:lnTo>
                    <a:pt x="90" y="265"/>
                  </a:lnTo>
                  <a:lnTo>
                    <a:pt x="123" y="277"/>
                  </a:lnTo>
                  <a:lnTo>
                    <a:pt x="154" y="288"/>
                  </a:lnTo>
                  <a:lnTo>
                    <a:pt x="205" y="306"/>
                  </a:lnTo>
                  <a:lnTo>
                    <a:pt x="247" y="320"/>
                  </a:lnTo>
                  <a:lnTo>
                    <a:pt x="264" y="325"/>
                  </a:lnTo>
                  <a:lnTo>
                    <a:pt x="281" y="328"/>
                  </a:lnTo>
                  <a:lnTo>
                    <a:pt x="296" y="331"/>
                  </a:lnTo>
                  <a:lnTo>
                    <a:pt x="311" y="331"/>
                  </a:lnTo>
                  <a:lnTo>
                    <a:pt x="321" y="331"/>
                  </a:lnTo>
                  <a:lnTo>
                    <a:pt x="329" y="329"/>
                  </a:lnTo>
                  <a:lnTo>
                    <a:pt x="338" y="328"/>
                  </a:lnTo>
                  <a:lnTo>
                    <a:pt x="348" y="326"/>
                  </a:lnTo>
                  <a:lnTo>
                    <a:pt x="366" y="321"/>
                  </a:lnTo>
                  <a:lnTo>
                    <a:pt x="386" y="313"/>
                  </a:lnTo>
                  <a:lnTo>
                    <a:pt x="408" y="303"/>
                  </a:lnTo>
                  <a:lnTo>
                    <a:pt x="433" y="291"/>
                  </a:lnTo>
                  <a:lnTo>
                    <a:pt x="461" y="276"/>
                  </a:lnTo>
                  <a:lnTo>
                    <a:pt x="494" y="258"/>
                  </a:lnTo>
                  <a:lnTo>
                    <a:pt x="513" y="247"/>
                  </a:lnTo>
                  <a:lnTo>
                    <a:pt x="533" y="236"/>
                  </a:lnTo>
                  <a:lnTo>
                    <a:pt x="557" y="223"/>
                  </a:lnTo>
                  <a:lnTo>
                    <a:pt x="581" y="210"/>
                  </a:lnTo>
                  <a:lnTo>
                    <a:pt x="607" y="196"/>
                  </a:lnTo>
                  <a:lnTo>
                    <a:pt x="636" y="181"/>
                  </a:lnTo>
                  <a:lnTo>
                    <a:pt x="667" y="165"/>
                  </a:lnTo>
                  <a:lnTo>
                    <a:pt x="699" y="149"/>
                  </a:lnTo>
                  <a:lnTo>
                    <a:pt x="703" y="147"/>
                  </a:lnTo>
                  <a:lnTo>
                    <a:pt x="705" y="145"/>
                  </a:lnTo>
                  <a:lnTo>
                    <a:pt x="707" y="142"/>
                  </a:lnTo>
                  <a:lnTo>
                    <a:pt x="708" y="139"/>
                  </a:lnTo>
                  <a:lnTo>
                    <a:pt x="708" y="134"/>
                  </a:lnTo>
                  <a:lnTo>
                    <a:pt x="707" y="131"/>
                  </a:lnTo>
                  <a:lnTo>
                    <a:pt x="706" y="128"/>
                  </a:lnTo>
                  <a:lnTo>
                    <a:pt x="704" y="125"/>
                  </a:lnTo>
                  <a:lnTo>
                    <a:pt x="704" y="1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06" name="Rectangle 105">
            <a:extLst>
              <a:ext uri="{FF2B5EF4-FFF2-40B4-BE49-F238E27FC236}">
                <a16:creationId xmlns:a16="http://schemas.microsoft.com/office/drawing/2014/main" id="{89C1466C-C809-4775-8A57-441CE28DA563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9392263" y="3484106"/>
            <a:ext cx="2029013" cy="1384995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/>
            <a:r>
              <a:rPr lang="en-US" sz="1400" dirty="0"/>
              <a:t>Lorem ipsum 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, sed do </a:t>
            </a:r>
            <a:r>
              <a:rPr lang="en-US" sz="1400" dirty="0" err="1"/>
              <a:t>eiusmod</a:t>
            </a:r>
            <a:r>
              <a:rPr lang="en-US" sz="1400" dirty="0"/>
              <a:t> </a:t>
            </a:r>
            <a:r>
              <a:rPr lang="en-US" sz="1400" dirty="0" err="1"/>
              <a:t>tempor</a:t>
            </a:r>
            <a:r>
              <a:rPr lang="en-US" sz="1400" dirty="0"/>
              <a:t> </a:t>
            </a:r>
            <a:r>
              <a:rPr lang="en-US" sz="1400" dirty="0" err="1"/>
              <a:t>incididunt</a:t>
            </a:r>
            <a:r>
              <a:rPr lang="en-US" sz="14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94092625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9DFF9D8D-381E-4AB5-A05F-86D86CF2A953}"/>
              </a:ext>
            </a:extLst>
          </p:cNvPr>
          <p:cNvSpPr/>
          <p:nvPr/>
        </p:nvSpPr>
        <p:spPr>
          <a:xfrm>
            <a:off x="-145143" y="632389"/>
            <a:ext cx="12482286" cy="6089086"/>
          </a:xfrm>
          <a:custGeom>
            <a:avLst/>
            <a:gdLst>
              <a:gd name="connsiteX0" fmla="*/ 0 w 11582400"/>
              <a:gd name="connsiteY0" fmla="*/ 0 h 6073775"/>
              <a:gd name="connsiteX1" fmla="*/ 11582400 w 11582400"/>
              <a:gd name="connsiteY1" fmla="*/ 0 h 6073775"/>
              <a:gd name="connsiteX2" fmla="*/ 11582400 w 11582400"/>
              <a:gd name="connsiteY2" fmla="*/ 6073775 h 6073775"/>
              <a:gd name="connsiteX3" fmla="*/ 0 w 11582400"/>
              <a:gd name="connsiteY3" fmla="*/ 6073775 h 6073775"/>
              <a:gd name="connsiteX4" fmla="*/ 0 w 11582400"/>
              <a:gd name="connsiteY4" fmla="*/ 0 h 6073775"/>
              <a:gd name="connsiteX0" fmla="*/ 0 w 11582400"/>
              <a:gd name="connsiteY0" fmla="*/ 6765 h 6080540"/>
              <a:gd name="connsiteX1" fmla="*/ 8309361 w 11582400"/>
              <a:gd name="connsiteY1" fmla="*/ 0 h 6080540"/>
              <a:gd name="connsiteX2" fmla="*/ 11582400 w 11582400"/>
              <a:gd name="connsiteY2" fmla="*/ 6765 h 6080540"/>
              <a:gd name="connsiteX3" fmla="*/ 11582400 w 11582400"/>
              <a:gd name="connsiteY3" fmla="*/ 6080540 h 6080540"/>
              <a:gd name="connsiteX4" fmla="*/ 0 w 11582400"/>
              <a:gd name="connsiteY4" fmla="*/ 6080540 h 6080540"/>
              <a:gd name="connsiteX5" fmla="*/ 0 w 11582400"/>
              <a:gd name="connsiteY5" fmla="*/ 6765 h 6080540"/>
              <a:gd name="connsiteX0" fmla="*/ 0 w 11582400"/>
              <a:gd name="connsiteY0" fmla="*/ 15311 h 6089086"/>
              <a:gd name="connsiteX1" fmla="*/ 3267342 w 11582400"/>
              <a:gd name="connsiteY1" fmla="*/ 0 h 6089086"/>
              <a:gd name="connsiteX2" fmla="*/ 8309361 w 11582400"/>
              <a:gd name="connsiteY2" fmla="*/ 8546 h 6089086"/>
              <a:gd name="connsiteX3" fmla="*/ 11582400 w 11582400"/>
              <a:gd name="connsiteY3" fmla="*/ 15311 h 6089086"/>
              <a:gd name="connsiteX4" fmla="*/ 11582400 w 11582400"/>
              <a:gd name="connsiteY4" fmla="*/ 6089086 h 6089086"/>
              <a:gd name="connsiteX5" fmla="*/ 0 w 11582400"/>
              <a:gd name="connsiteY5" fmla="*/ 6089086 h 6089086"/>
              <a:gd name="connsiteX6" fmla="*/ 0 w 11582400"/>
              <a:gd name="connsiteY6" fmla="*/ 15311 h 6089086"/>
              <a:gd name="connsiteX0" fmla="*/ 0 w 11582400"/>
              <a:gd name="connsiteY0" fmla="*/ 23857 h 6097632"/>
              <a:gd name="connsiteX1" fmla="*/ 3267342 w 11582400"/>
              <a:gd name="connsiteY1" fmla="*/ 8546 h 6097632"/>
              <a:gd name="connsiteX2" fmla="*/ 5386699 w 11582400"/>
              <a:gd name="connsiteY2" fmla="*/ 0 h 6097632"/>
              <a:gd name="connsiteX3" fmla="*/ 8309361 w 11582400"/>
              <a:gd name="connsiteY3" fmla="*/ 17092 h 6097632"/>
              <a:gd name="connsiteX4" fmla="*/ 11582400 w 11582400"/>
              <a:gd name="connsiteY4" fmla="*/ 23857 h 6097632"/>
              <a:gd name="connsiteX5" fmla="*/ 11582400 w 11582400"/>
              <a:gd name="connsiteY5" fmla="*/ 6097632 h 6097632"/>
              <a:gd name="connsiteX6" fmla="*/ 0 w 11582400"/>
              <a:gd name="connsiteY6" fmla="*/ 6097632 h 6097632"/>
              <a:gd name="connsiteX7" fmla="*/ 0 w 11582400"/>
              <a:gd name="connsiteY7" fmla="*/ 23857 h 6097632"/>
              <a:gd name="connsiteX0" fmla="*/ 5386699 w 11582400"/>
              <a:gd name="connsiteY0" fmla="*/ 0 h 6097632"/>
              <a:gd name="connsiteX1" fmla="*/ 8309361 w 11582400"/>
              <a:gd name="connsiteY1" fmla="*/ 17092 h 6097632"/>
              <a:gd name="connsiteX2" fmla="*/ 11582400 w 11582400"/>
              <a:gd name="connsiteY2" fmla="*/ 23857 h 6097632"/>
              <a:gd name="connsiteX3" fmla="*/ 11582400 w 11582400"/>
              <a:gd name="connsiteY3" fmla="*/ 6097632 h 6097632"/>
              <a:gd name="connsiteX4" fmla="*/ 0 w 11582400"/>
              <a:gd name="connsiteY4" fmla="*/ 6097632 h 6097632"/>
              <a:gd name="connsiteX5" fmla="*/ 0 w 11582400"/>
              <a:gd name="connsiteY5" fmla="*/ 23857 h 6097632"/>
              <a:gd name="connsiteX6" fmla="*/ 3267342 w 11582400"/>
              <a:gd name="connsiteY6" fmla="*/ 8546 h 6097632"/>
              <a:gd name="connsiteX7" fmla="*/ 5478139 w 11582400"/>
              <a:gd name="connsiteY7" fmla="*/ 91440 h 6097632"/>
              <a:gd name="connsiteX0" fmla="*/ 8309361 w 11582400"/>
              <a:gd name="connsiteY0" fmla="*/ 8616 h 6089156"/>
              <a:gd name="connsiteX1" fmla="*/ 11582400 w 11582400"/>
              <a:gd name="connsiteY1" fmla="*/ 15381 h 6089156"/>
              <a:gd name="connsiteX2" fmla="*/ 11582400 w 11582400"/>
              <a:gd name="connsiteY2" fmla="*/ 6089156 h 6089156"/>
              <a:gd name="connsiteX3" fmla="*/ 0 w 11582400"/>
              <a:gd name="connsiteY3" fmla="*/ 6089156 h 6089156"/>
              <a:gd name="connsiteX4" fmla="*/ 0 w 11582400"/>
              <a:gd name="connsiteY4" fmla="*/ 15381 h 6089156"/>
              <a:gd name="connsiteX5" fmla="*/ 3267342 w 11582400"/>
              <a:gd name="connsiteY5" fmla="*/ 70 h 6089156"/>
              <a:gd name="connsiteX6" fmla="*/ 5478139 w 11582400"/>
              <a:gd name="connsiteY6" fmla="*/ 82964 h 6089156"/>
              <a:gd name="connsiteX0" fmla="*/ 8309361 w 11582400"/>
              <a:gd name="connsiteY0" fmla="*/ 8546 h 6089086"/>
              <a:gd name="connsiteX1" fmla="*/ 11582400 w 11582400"/>
              <a:gd name="connsiteY1" fmla="*/ 15311 h 6089086"/>
              <a:gd name="connsiteX2" fmla="*/ 11582400 w 11582400"/>
              <a:gd name="connsiteY2" fmla="*/ 6089086 h 6089086"/>
              <a:gd name="connsiteX3" fmla="*/ 0 w 11582400"/>
              <a:gd name="connsiteY3" fmla="*/ 6089086 h 6089086"/>
              <a:gd name="connsiteX4" fmla="*/ 0 w 11582400"/>
              <a:gd name="connsiteY4" fmla="*/ 15311 h 6089086"/>
              <a:gd name="connsiteX5" fmla="*/ 3267342 w 11582400"/>
              <a:gd name="connsiteY5" fmla="*/ 0 h 6089086"/>
              <a:gd name="connsiteX0" fmla="*/ 8309361 w 11582400"/>
              <a:gd name="connsiteY0" fmla="*/ 8546 h 6089086"/>
              <a:gd name="connsiteX1" fmla="*/ 11582400 w 11582400"/>
              <a:gd name="connsiteY1" fmla="*/ 15311 h 6089086"/>
              <a:gd name="connsiteX2" fmla="*/ 11582400 w 11582400"/>
              <a:gd name="connsiteY2" fmla="*/ 2923611 h 6089086"/>
              <a:gd name="connsiteX3" fmla="*/ 11582400 w 11582400"/>
              <a:gd name="connsiteY3" fmla="*/ 6089086 h 6089086"/>
              <a:gd name="connsiteX4" fmla="*/ 0 w 11582400"/>
              <a:gd name="connsiteY4" fmla="*/ 6089086 h 6089086"/>
              <a:gd name="connsiteX5" fmla="*/ 0 w 11582400"/>
              <a:gd name="connsiteY5" fmla="*/ 15311 h 6089086"/>
              <a:gd name="connsiteX6" fmla="*/ 3267342 w 11582400"/>
              <a:gd name="connsiteY6" fmla="*/ 0 h 6089086"/>
              <a:gd name="connsiteX0" fmla="*/ 8309361 w 11582400"/>
              <a:gd name="connsiteY0" fmla="*/ 8546 h 6089086"/>
              <a:gd name="connsiteX1" fmla="*/ 11582400 w 11582400"/>
              <a:gd name="connsiteY1" fmla="*/ 15311 h 6089086"/>
              <a:gd name="connsiteX2" fmla="*/ 11582400 w 11582400"/>
              <a:gd name="connsiteY2" fmla="*/ 6089086 h 6089086"/>
              <a:gd name="connsiteX3" fmla="*/ 0 w 11582400"/>
              <a:gd name="connsiteY3" fmla="*/ 6089086 h 6089086"/>
              <a:gd name="connsiteX4" fmla="*/ 0 w 11582400"/>
              <a:gd name="connsiteY4" fmla="*/ 15311 h 6089086"/>
              <a:gd name="connsiteX5" fmla="*/ 3267342 w 11582400"/>
              <a:gd name="connsiteY5" fmla="*/ 0 h 60890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582400" h="6089086">
                <a:moveTo>
                  <a:pt x="8309361" y="8546"/>
                </a:moveTo>
                <a:lnTo>
                  <a:pt x="11582400" y="15311"/>
                </a:lnTo>
                <a:lnTo>
                  <a:pt x="11582400" y="6089086"/>
                </a:lnTo>
                <a:lnTo>
                  <a:pt x="0" y="6089086"/>
                </a:lnTo>
                <a:lnTo>
                  <a:pt x="0" y="15311"/>
                </a:lnTo>
                <a:lnTo>
                  <a:pt x="3267342" y="0"/>
                </a:lnTo>
              </a:path>
            </a:pathLst>
          </a:custGeom>
          <a:noFill/>
          <a:ln w="6350">
            <a:solidFill>
              <a:schemeClr val="accent2"/>
            </a:solidFill>
            <a:headEnd type="oval"/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094B0E2-52F1-47A9-B0CD-64F57F5DE476}"/>
              </a:ext>
            </a:extLst>
          </p:cNvPr>
          <p:cNvSpPr txBox="1"/>
          <p:nvPr/>
        </p:nvSpPr>
        <p:spPr>
          <a:xfrm>
            <a:off x="190500" y="241300"/>
            <a:ext cx="11811000" cy="8002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3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rPr>
              <a:t>Project Management</a:t>
            </a:r>
          </a:p>
          <a:p>
            <a:pPr algn="ctr"/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rPr>
              <a:t>Template Pack</a:t>
            </a:r>
            <a:endParaRPr lang="id-ID" sz="20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ABA8D8A-3C74-47D4-9A47-6C113AB1DC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65069E-FEA1-427A-A048-CF60E8D1D63F}" type="datetime1">
              <a:rPr lang="en-US" sz="1000" smtClean="0"/>
              <a:t>5/8/2019</a:t>
            </a:fld>
            <a:endParaRPr lang="en-US" sz="10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28A193C-DE62-45B9-BC6C-339547738B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EFC3F0-C584-483B-B1FE-52BE924CB19D}" type="slidenum">
              <a:rPr lang="en-US" sz="1000" smtClean="0"/>
              <a:t>9</a:t>
            </a:fld>
            <a:endParaRPr lang="en-US" sz="100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FDF3E648-A74E-4354-ABE5-897E0A7C38CA}"/>
              </a:ext>
            </a:extLst>
          </p:cNvPr>
          <p:cNvGrpSpPr/>
          <p:nvPr/>
        </p:nvGrpSpPr>
        <p:grpSpPr>
          <a:xfrm>
            <a:off x="1333501" y="1582766"/>
            <a:ext cx="4470398" cy="4320212"/>
            <a:chOff x="1041400" y="1582766"/>
            <a:chExt cx="4470398" cy="4320212"/>
          </a:xfrm>
        </p:grpSpPr>
        <p:sp>
          <p:nvSpPr>
            <p:cNvPr id="42" name="Isosceles Triangle 41">
              <a:extLst>
                <a:ext uri="{FF2B5EF4-FFF2-40B4-BE49-F238E27FC236}">
                  <a16:creationId xmlns:a16="http://schemas.microsoft.com/office/drawing/2014/main" id="{04E59C4C-6062-42DB-8F75-209019A0A5B1}"/>
                </a:ext>
              </a:extLst>
            </p:cNvPr>
            <p:cNvSpPr/>
            <p:nvPr/>
          </p:nvSpPr>
          <p:spPr>
            <a:xfrm flipV="1">
              <a:off x="1041400" y="2049186"/>
              <a:ext cx="2235199" cy="1926896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" name="Isosceles Triangle 42">
              <a:extLst>
                <a:ext uri="{FF2B5EF4-FFF2-40B4-BE49-F238E27FC236}">
                  <a16:creationId xmlns:a16="http://schemas.microsoft.com/office/drawing/2014/main" id="{808A7F5D-4088-46B5-A2A6-2C70C1D16782}"/>
                </a:ext>
              </a:extLst>
            </p:cNvPr>
            <p:cNvSpPr/>
            <p:nvPr/>
          </p:nvSpPr>
          <p:spPr>
            <a:xfrm flipV="1">
              <a:off x="3276599" y="2049186"/>
              <a:ext cx="2235199" cy="1926896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" name="Isosceles Triangle 43">
              <a:extLst>
                <a:ext uri="{FF2B5EF4-FFF2-40B4-BE49-F238E27FC236}">
                  <a16:creationId xmlns:a16="http://schemas.microsoft.com/office/drawing/2014/main" id="{52CC655C-66FD-4FEB-8FDB-91E0F36174E2}"/>
                </a:ext>
              </a:extLst>
            </p:cNvPr>
            <p:cNvSpPr/>
            <p:nvPr/>
          </p:nvSpPr>
          <p:spPr>
            <a:xfrm flipV="1">
              <a:off x="2158999" y="3976082"/>
              <a:ext cx="2235199" cy="1926896"/>
            </a:xfrm>
            <a:prstGeom prst="triangle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F68822CF-C87C-424A-A9E9-56FB2DFAB224}"/>
                </a:ext>
              </a:extLst>
            </p:cNvPr>
            <p:cNvSpPr/>
            <p:nvPr/>
          </p:nvSpPr>
          <p:spPr>
            <a:xfrm>
              <a:off x="2158999" y="1582766"/>
              <a:ext cx="2235198" cy="335989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>
                <a:lnSpc>
                  <a:spcPts val="1900"/>
                </a:lnSpc>
              </a:pPr>
              <a:r>
                <a:rPr lang="en-US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" panose="020B0502040204020203" pitchFamily="34" charset="0"/>
                </a:rPr>
                <a:t>LOREM IPSUM</a:t>
              </a: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F7365D5E-9128-4564-971D-12F303EA7D8D}"/>
                </a:ext>
              </a:extLst>
            </p:cNvPr>
            <p:cNvSpPr/>
            <p:nvPr/>
          </p:nvSpPr>
          <p:spPr>
            <a:xfrm rot="18000000">
              <a:off x="3689911" y="3808087"/>
              <a:ext cx="2235198" cy="335989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>
                <a:lnSpc>
                  <a:spcPts val="1900"/>
                </a:lnSpc>
              </a:pPr>
              <a:r>
                <a:rPr lang="en-US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" panose="020B0502040204020203" pitchFamily="34" charset="0"/>
                </a:rPr>
                <a:t>LOREM IPSUM</a:t>
              </a: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DDF752BF-D90F-4799-B5C3-20F46280407C}"/>
                </a:ext>
              </a:extLst>
            </p:cNvPr>
            <p:cNvSpPr/>
            <p:nvPr/>
          </p:nvSpPr>
          <p:spPr>
            <a:xfrm rot="3600000">
              <a:off x="628087" y="3808087"/>
              <a:ext cx="2235198" cy="335989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>
                <a:lnSpc>
                  <a:spcPts val="1900"/>
                </a:lnSpc>
              </a:pPr>
              <a:r>
                <a:rPr lang="en-US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" panose="020B0502040204020203" pitchFamily="34" charset="0"/>
                </a:rPr>
                <a:t>LOREM IPSUM</a:t>
              </a:r>
            </a:p>
          </p:txBody>
        </p:sp>
        <p:sp>
          <p:nvSpPr>
            <p:cNvPr id="48" name="Freeform 4344">
              <a:extLst>
                <a:ext uri="{FF2B5EF4-FFF2-40B4-BE49-F238E27FC236}">
                  <a16:creationId xmlns:a16="http://schemas.microsoft.com/office/drawing/2014/main" id="{496FD37E-0444-4074-9866-AB2E73B9D6D8}"/>
                </a:ext>
              </a:extLst>
            </p:cNvPr>
            <p:cNvSpPr>
              <a:spLocks/>
            </p:cNvSpPr>
            <p:nvPr/>
          </p:nvSpPr>
          <p:spPr bwMode="auto">
            <a:xfrm>
              <a:off x="1932731" y="2513865"/>
              <a:ext cx="452536" cy="452536"/>
            </a:xfrm>
            <a:custGeom>
              <a:avLst/>
              <a:gdLst>
                <a:gd name="T0" fmla="*/ 853 w 886"/>
                <a:gd name="T1" fmla="*/ 137 h 886"/>
                <a:gd name="T2" fmla="*/ 842 w 886"/>
                <a:gd name="T3" fmla="*/ 134 h 886"/>
                <a:gd name="T4" fmla="*/ 833 w 886"/>
                <a:gd name="T5" fmla="*/ 138 h 886"/>
                <a:gd name="T6" fmla="*/ 646 w 886"/>
                <a:gd name="T7" fmla="*/ 172 h 886"/>
                <a:gd name="T8" fmla="*/ 754 w 886"/>
                <a:gd name="T9" fmla="*/ 46 h 886"/>
                <a:gd name="T10" fmla="*/ 754 w 886"/>
                <a:gd name="T11" fmla="*/ 37 h 886"/>
                <a:gd name="T12" fmla="*/ 747 w 886"/>
                <a:gd name="T13" fmla="*/ 29 h 886"/>
                <a:gd name="T14" fmla="*/ 704 w 886"/>
                <a:gd name="T15" fmla="*/ 12 h 886"/>
                <a:gd name="T16" fmla="*/ 659 w 886"/>
                <a:gd name="T17" fmla="*/ 2 h 886"/>
                <a:gd name="T18" fmla="*/ 615 w 886"/>
                <a:gd name="T19" fmla="*/ 0 h 886"/>
                <a:gd name="T20" fmla="*/ 577 w 886"/>
                <a:gd name="T21" fmla="*/ 6 h 886"/>
                <a:gd name="T22" fmla="*/ 539 w 886"/>
                <a:gd name="T23" fmla="*/ 15 h 886"/>
                <a:gd name="T24" fmla="*/ 505 w 886"/>
                <a:gd name="T25" fmla="*/ 31 h 886"/>
                <a:gd name="T26" fmla="*/ 473 w 886"/>
                <a:gd name="T27" fmla="*/ 52 h 886"/>
                <a:gd name="T28" fmla="*/ 443 w 886"/>
                <a:gd name="T29" fmla="*/ 76 h 886"/>
                <a:gd name="T30" fmla="*/ 405 w 886"/>
                <a:gd name="T31" fmla="*/ 124 h 886"/>
                <a:gd name="T32" fmla="*/ 380 w 886"/>
                <a:gd name="T33" fmla="*/ 178 h 886"/>
                <a:gd name="T34" fmla="*/ 368 w 886"/>
                <a:gd name="T35" fmla="*/ 235 h 886"/>
                <a:gd name="T36" fmla="*/ 368 w 886"/>
                <a:gd name="T37" fmla="*/ 293 h 886"/>
                <a:gd name="T38" fmla="*/ 382 w 886"/>
                <a:gd name="T39" fmla="*/ 351 h 886"/>
                <a:gd name="T40" fmla="*/ 21 w 886"/>
                <a:gd name="T41" fmla="*/ 738 h 886"/>
                <a:gd name="T42" fmla="*/ 7 w 886"/>
                <a:gd name="T43" fmla="*/ 762 h 886"/>
                <a:gd name="T44" fmla="*/ 1 w 886"/>
                <a:gd name="T45" fmla="*/ 787 h 886"/>
                <a:gd name="T46" fmla="*/ 2 w 886"/>
                <a:gd name="T47" fmla="*/ 813 h 886"/>
                <a:gd name="T48" fmla="*/ 11 w 886"/>
                <a:gd name="T49" fmla="*/ 838 h 886"/>
                <a:gd name="T50" fmla="*/ 27 w 886"/>
                <a:gd name="T51" fmla="*/ 860 h 886"/>
                <a:gd name="T52" fmla="*/ 48 w 886"/>
                <a:gd name="T53" fmla="*/ 875 h 886"/>
                <a:gd name="T54" fmla="*/ 73 w 886"/>
                <a:gd name="T55" fmla="*/ 884 h 886"/>
                <a:gd name="T56" fmla="*/ 99 w 886"/>
                <a:gd name="T57" fmla="*/ 885 h 886"/>
                <a:gd name="T58" fmla="*/ 125 w 886"/>
                <a:gd name="T59" fmla="*/ 879 h 886"/>
                <a:gd name="T60" fmla="*/ 148 w 886"/>
                <a:gd name="T61" fmla="*/ 866 h 886"/>
                <a:gd name="T62" fmla="*/ 530 w 886"/>
                <a:gd name="T63" fmla="*/ 502 h 886"/>
                <a:gd name="T64" fmla="*/ 570 w 886"/>
                <a:gd name="T65" fmla="*/ 515 h 886"/>
                <a:gd name="T66" fmla="*/ 612 w 886"/>
                <a:gd name="T67" fmla="*/ 520 h 886"/>
                <a:gd name="T68" fmla="*/ 626 w 886"/>
                <a:gd name="T69" fmla="*/ 520 h 886"/>
                <a:gd name="T70" fmla="*/ 664 w 886"/>
                <a:gd name="T71" fmla="*/ 518 h 886"/>
                <a:gd name="T72" fmla="*/ 702 w 886"/>
                <a:gd name="T73" fmla="*/ 509 h 886"/>
                <a:gd name="T74" fmla="*/ 737 w 886"/>
                <a:gd name="T75" fmla="*/ 496 h 886"/>
                <a:gd name="T76" fmla="*/ 769 w 886"/>
                <a:gd name="T77" fmla="*/ 477 h 886"/>
                <a:gd name="T78" fmla="*/ 800 w 886"/>
                <a:gd name="T79" fmla="*/ 454 h 886"/>
                <a:gd name="T80" fmla="*/ 837 w 886"/>
                <a:gd name="T81" fmla="*/ 413 h 886"/>
                <a:gd name="T82" fmla="*/ 867 w 886"/>
                <a:gd name="T83" fmla="*/ 360 h 886"/>
                <a:gd name="T84" fmla="*/ 883 w 886"/>
                <a:gd name="T85" fmla="*/ 301 h 886"/>
                <a:gd name="T86" fmla="*/ 885 w 886"/>
                <a:gd name="T87" fmla="*/ 241 h 886"/>
                <a:gd name="T88" fmla="*/ 873 w 886"/>
                <a:gd name="T89" fmla="*/ 181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86" h="886">
                  <a:moveTo>
                    <a:pt x="857" y="143"/>
                  </a:moveTo>
                  <a:lnTo>
                    <a:pt x="855" y="139"/>
                  </a:lnTo>
                  <a:lnTo>
                    <a:pt x="853" y="137"/>
                  </a:lnTo>
                  <a:lnTo>
                    <a:pt x="849" y="135"/>
                  </a:lnTo>
                  <a:lnTo>
                    <a:pt x="846" y="133"/>
                  </a:lnTo>
                  <a:lnTo>
                    <a:pt x="842" y="134"/>
                  </a:lnTo>
                  <a:lnTo>
                    <a:pt x="839" y="135"/>
                  </a:lnTo>
                  <a:lnTo>
                    <a:pt x="836" y="136"/>
                  </a:lnTo>
                  <a:lnTo>
                    <a:pt x="833" y="138"/>
                  </a:lnTo>
                  <a:lnTo>
                    <a:pt x="712" y="259"/>
                  </a:lnTo>
                  <a:lnTo>
                    <a:pt x="646" y="259"/>
                  </a:lnTo>
                  <a:lnTo>
                    <a:pt x="646" y="172"/>
                  </a:lnTo>
                  <a:lnTo>
                    <a:pt x="751" y="53"/>
                  </a:lnTo>
                  <a:lnTo>
                    <a:pt x="753" y="49"/>
                  </a:lnTo>
                  <a:lnTo>
                    <a:pt x="754" y="46"/>
                  </a:lnTo>
                  <a:lnTo>
                    <a:pt x="755" y="43"/>
                  </a:lnTo>
                  <a:lnTo>
                    <a:pt x="755" y="39"/>
                  </a:lnTo>
                  <a:lnTo>
                    <a:pt x="754" y="37"/>
                  </a:lnTo>
                  <a:lnTo>
                    <a:pt x="752" y="33"/>
                  </a:lnTo>
                  <a:lnTo>
                    <a:pt x="750" y="31"/>
                  </a:lnTo>
                  <a:lnTo>
                    <a:pt x="747" y="29"/>
                  </a:lnTo>
                  <a:lnTo>
                    <a:pt x="733" y="23"/>
                  </a:lnTo>
                  <a:lnTo>
                    <a:pt x="719" y="16"/>
                  </a:lnTo>
                  <a:lnTo>
                    <a:pt x="704" y="12"/>
                  </a:lnTo>
                  <a:lnTo>
                    <a:pt x="689" y="8"/>
                  </a:lnTo>
                  <a:lnTo>
                    <a:pt x="674" y="5"/>
                  </a:lnTo>
                  <a:lnTo>
                    <a:pt x="659" y="2"/>
                  </a:lnTo>
                  <a:lnTo>
                    <a:pt x="643" y="1"/>
                  </a:lnTo>
                  <a:lnTo>
                    <a:pt x="628" y="0"/>
                  </a:lnTo>
                  <a:lnTo>
                    <a:pt x="615" y="0"/>
                  </a:lnTo>
                  <a:lnTo>
                    <a:pt x="602" y="1"/>
                  </a:lnTo>
                  <a:lnTo>
                    <a:pt x="589" y="3"/>
                  </a:lnTo>
                  <a:lnTo>
                    <a:pt x="577" y="6"/>
                  </a:lnTo>
                  <a:lnTo>
                    <a:pt x="564" y="8"/>
                  </a:lnTo>
                  <a:lnTo>
                    <a:pt x="552" y="11"/>
                  </a:lnTo>
                  <a:lnTo>
                    <a:pt x="539" y="15"/>
                  </a:lnTo>
                  <a:lnTo>
                    <a:pt x="527" y="19"/>
                  </a:lnTo>
                  <a:lnTo>
                    <a:pt x="516" y="25"/>
                  </a:lnTo>
                  <a:lnTo>
                    <a:pt x="505" y="31"/>
                  </a:lnTo>
                  <a:lnTo>
                    <a:pt x="493" y="37"/>
                  </a:lnTo>
                  <a:lnTo>
                    <a:pt x="482" y="44"/>
                  </a:lnTo>
                  <a:lnTo>
                    <a:pt x="473" y="52"/>
                  </a:lnTo>
                  <a:lnTo>
                    <a:pt x="462" y="59"/>
                  </a:lnTo>
                  <a:lnTo>
                    <a:pt x="452" y="68"/>
                  </a:lnTo>
                  <a:lnTo>
                    <a:pt x="443" y="76"/>
                  </a:lnTo>
                  <a:lnTo>
                    <a:pt x="429" y="91"/>
                  </a:lnTo>
                  <a:lnTo>
                    <a:pt x="416" y="107"/>
                  </a:lnTo>
                  <a:lnTo>
                    <a:pt x="405" y="124"/>
                  </a:lnTo>
                  <a:lnTo>
                    <a:pt x="396" y="141"/>
                  </a:lnTo>
                  <a:lnTo>
                    <a:pt x="387" y="160"/>
                  </a:lnTo>
                  <a:lnTo>
                    <a:pt x="380" y="178"/>
                  </a:lnTo>
                  <a:lnTo>
                    <a:pt x="374" y="196"/>
                  </a:lnTo>
                  <a:lnTo>
                    <a:pt x="370" y="215"/>
                  </a:lnTo>
                  <a:lnTo>
                    <a:pt x="368" y="235"/>
                  </a:lnTo>
                  <a:lnTo>
                    <a:pt x="366" y="254"/>
                  </a:lnTo>
                  <a:lnTo>
                    <a:pt x="367" y="274"/>
                  </a:lnTo>
                  <a:lnTo>
                    <a:pt x="368" y="293"/>
                  </a:lnTo>
                  <a:lnTo>
                    <a:pt x="371" y="313"/>
                  </a:lnTo>
                  <a:lnTo>
                    <a:pt x="376" y="332"/>
                  </a:lnTo>
                  <a:lnTo>
                    <a:pt x="382" y="351"/>
                  </a:lnTo>
                  <a:lnTo>
                    <a:pt x="390" y="369"/>
                  </a:lnTo>
                  <a:lnTo>
                    <a:pt x="27" y="732"/>
                  </a:lnTo>
                  <a:lnTo>
                    <a:pt x="21" y="738"/>
                  </a:lnTo>
                  <a:lnTo>
                    <a:pt x="16" y="746"/>
                  </a:lnTo>
                  <a:lnTo>
                    <a:pt x="11" y="753"/>
                  </a:lnTo>
                  <a:lnTo>
                    <a:pt x="7" y="762"/>
                  </a:lnTo>
                  <a:lnTo>
                    <a:pt x="4" y="769"/>
                  </a:lnTo>
                  <a:lnTo>
                    <a:pt x="2" y="778"/>
                  </a:lnTo>
                  <a:lnTo>
                    <a:pt x="1" y="787"/>
                  </a:lnTo>
                  <a:lnTo>
                    <a:pt x="0" y="796"/>
                  </a:lnTo>
                  <a:lnTo>
                    <a:pt x="1" y="805"/>
                  </a:lnTo>
                  <a:lnTo>
                    <a:pt x="2" y="813"/>
                  </a:lnTo>
                  <a:lnTo>
                    <a:pt x="4" y="822"/>
                  </a:lnTo>
                  <a:lnTo>
                    <a:pt x="7" y="830"/>
                  </a:lnTo>
                  <a:lnTo>
                    <a:pt x="11" y="838"/>
                  </a:lnTo>
                  <a:lnTo>
                    <a:pt x="15" y="845"/>
                  </a:lnTo>
                  <a:lnTo>
                    <a:pt x="20" y="853"/>
                  </a:lnTo>
                  <a:lnTo>
                    <a:pt x="27" y="860"/>
                  </a:lnTo>
                  <a:lnTo>
                    <a:pt x="33" y="866"/>
                  </a:lnTo>
                  <a:lnTo>
                    <a:pt x="41" y="871"/>
                  </a:lnTo>
                  <a:lnTo>
                    <a:pt x="48" y="875"/>
                  </a:lnTo>
                  <a:lnTo>
                    <a:pt x="55" y="879"/>
                  </a:lnTo>
                  <a:lnTo>
                    <a:pt x="64" y="882"/>
                  </a:lnTo>
                  <a:lnTo>
                    <a:pt x="73" y="884"/>
                  </a:lnTo>
                  <a:lnTo>
                    <a:pt x="81" y="885"/>
                  </a:lnTo>
                  <a:lnTo>
                    <a:pt x="91" y="886"/>
                  </a:lnTo>
                  <a:lnTo>
                    <a:pt x="99" y="885"/>
                  </a:lnTo>
                  <a:lnTo>
                    <a:pt x="108" y="884"/>
                  </a:lnTo>
                  <a:lnTo>
                    <a:pt x="116" y="882"/>
                  </a:lnTo>
                  <a:lnTo>
                    <a:pt x="125" y="879"/>
                  </a:lnTo>
                  <a:lnTo>
                    <a:pt x="133" y="875"/>
                  </a:lnTo>
                  <a:lnTo>
                    <a:pt x="140" y="871"/>
                  </a:lnTo>
                  <a:lnTo>
                    <a:pt x="148" y="866"/>
                  </a:lnTo>
                  <a:lnTo>
                    <a:pt x="154" y="860"/>
                  </a:lnTo>
                  <a:lnTo>
                    <a:pt x="517" y="497"/>
                  </a:lnTo>
                  <a:lnTo>
                    <a:pt x="530" y="502"/>
                  </a:lnTo>
                  <a:lnTo>
                    <a:pt x="543" y="507"/>
                  </a:lnTo>
                  <a:lnTo>
                    <a:pt x="556" y="512"/>
                  </a:lnTo>
                  <a:lnTo>
                    <a:pt x="570" y="515"/>
                  </a:lnTo>
                  <a:lnTo>
                    <a:pt x="584" y="517"/>
                  </a:lnTo>
                  <a:lnTo>
                    <a:pt x="598" y="519"/>
                  </a:lnTo>
                  <a:lnTo>
                    <a:pt x="612" y="520"/>
                  </a:lnTo>
                  <a:lnTo>
                    <a:pt x="626" y="520"/>
                  </a:lnTo>
                  <a:lnTo>
                    <a:pt x="626" y="520"/>
                  </a:lnTo>
                  <a:lnTo>
                    <a:pt x="626" y="520"/>
                  </a:lnTo>
                  <a:lnTo>
                    <a:pt x="639" y="520"/>
                  </a:lnTo>
                  <a:lnTo>
                    <a:pt x="651" y="519"/>
                  </a:lnTo>
                  <a:lnTo>
                    <a:pt x="664" y="518"/>
                  </a:lnTo>
                  <a:lnTo>
                    <a:pt x="677" y="516"/>
                  </a:lnTo>
                  <a:lnTo>
                    <a:pt x="689" y="513"/>
                  </a:lnTo>
                  <a:lnTo>
                    <a:pt x="702" y="509"/>
                  </a:lnTo>
                  <a:lnTo>
                    <a:pt x="714" y="505"/>
                  </a:lnTo>
                  <a:lnTo>
                    <a:pt x="725" y="501"/>
                  </a:lnTo>
                  <a:lnTo>
                    <a:pt x="737" y="496"/>
                  </a:lnTo>
                  <a:lnTo>
                    <a:pt x="748" y="490"/>
                  </a:lnTo>
                  <a:lnTo>
                    <a:pt x="758" y="484"/>
                  </a:lnTo>
                  <a:lnTo>
                    <a:pt x="769" y="477"/>
                  </a:lnTo>
                  <a:lnTo>
                    <a:pt x="780" y="470"/>
                  </a:lnTo>
                  <a:lnTo>
                    <a:pt x="791" y="462"/>
                  </a:lnTo>
                  <a:lnTo>
                    <a:pt x="800" y="454"/>
                  </a:lnTo>
                  <a:lnTo>
                    <a:pt x="810" y="444"/>
                  </a:lnTo>
                  <a:lnTo>
                    <a:pt x="824" y="429"/>
                  </a:lnTo>
                  <a:lnTo>
                    <a:pt x="837" y="413"/>
                  </a:lnTo>
                  <a:lnTo>
                    <a:pt x="848" y="396"/>
                  </a:lnTo>
                  <a:lnTo>
                    <a:pt x="858" y="378"/>
                  </a:lnTo>
                  <a:lnTo>
                    <a:pt x="867" y="360"/>
                  </a:lnTo>
                  <a:lnTo>
                    <a:pt x="873" y="340"/>
                  </a:lnTo>
                  <a:lnTo>
                    <a:pt x="878" y="321"/>
                  </a:lnTo>
                  <a:lnTo>
                    <a:pt x="883" y="301"/>
                  </a:lnTo>
                  <a:lnTo>
                    <a:pt x="885" y="282"/>
                  </a:lnTo>
                  <a:lnTo>
                    <a:pt x="886" y="261"/>
                  </a:lnTo>
                  <a:lnTo>
                    <a:pt x="885" y="241"/>
                  </a:lnTo>
                  <a:lnTo>
                    <a:pt x="883" y="221"/>
                  </a:lnTo>
                  <a:lnTo>
                    <a:pt x="878" y="200"/>
                  </a:lnTo>
                  <a:lnTo>
                    <a:pt x="873" y="181"/>
                  </a:lnTo>
                  <a:lnTo>
                    <a:pt x="865" y="162"/>
                  </a:lnTo>
                  <a:lnTo>
                    <a:pt x="857" y="14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4346">
              <a:extLst>
                <a:ext uri="{FF2B5EF4-FFF2-40B4-BE49-F238E27FC236}">
                  <a16:creationId xmlns:a16="http://schemas.microsoft.com/office/drawing/2014/main" id="{EDB685EF-D1AD-4E87-9459-6E40565B22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46496" y="4436927"/>
              <a:ext cx="460204" cy="460204"/>
            </a:xfrm>
            <a:custGeom>
              <a:avLst/>
              <a:gdLst>
                <a:gd name="T0" fmla="*/ 706 w 898"/>
                <a:gd name="T1" fmla="*/ 479 h 898"/>
                <a:gd name="T2" fmla="*/ 652 w 898"/>
                <a:gd name="T3" fmla="*/ 556 h 898"/>
                <a:gd name="T4" fmla="*/ 632 w 898"/>
                <a:gd name="T5" fmla="*/ 551 h 898"/>
                <a:gd name="T6" fmla="*/ 576 w 898"/>
                <a:gd name="T7" fmla="*/ 477 h 898"/>
                <a:gd name="T8" fmla="*/ 571 w 898"/>
                <a:gd name="T9" fmla="*/ 398 h 898"/>
                <a:gd name="T10" fmla="*/ 628 w 898"/>
                <a:gd name="T11" fmla="*/ 129 h 898"/>
                <a:gd name="T12" fmla="*/ 643 w 898"/>
                <a:gd name="T13" fmla="*/ 114 h 898"/>
                <a:gd name="T14" fmla="*/ 658 w 898"/>
                <a:gd name="T15" fmla="*/ 129 h 898"/>
                <a:gd name="T16" fmla="*/ 717 w 898"/>
                <a:gd name="T17" fmla="*/ 398 h 898"/>
                <a:gd name="T18" fmla="*/ 621 w 898"/>
                <a:gd name="T19" fmla="*/ 758 h 898"/>
                <a:gd name="T20" fmla="*/ 589 w 898"/>
                <a:gd name="T21" fmla="*/ 727 h 898"/>
                <a:gd name="T22" fmla="*/ 589 w 898"/>
                <a:gd name="T23" fmla="*/ 680 h 898"/>
                <a:gd name="T24" fmla="*/ 621 w 898"/>
                <a:gd name="T25" fmla="*/ 648 h 898"/>
                <a:gd name="T26" fmla="*/ 667 w 898"/>
                <a:gd name="T27" fmla="*/ 648 h 898"/>
                <a:gd name="T28" fmla="*/ 699 w 898"/>
                <a:gd name="T29" fmla="*/ 680 h 898"/>
                <a:gd name="T30" fmla="*/ 699 w 898"/>
                <a:gd name="T31" fmla="*/ 727 h 898"/>
                <a:gd name="T32" fmla="*/ 667 w 898"/>
                <a:gd name="T33" fmla="*/ 758 h 898"/>
                <a:gd name="T34" fmla="*/ 536 w 898"/>
                <a:gd name="T35" fmla="*/ 294 h 898"/>
                <a:gd name="T36" fmla="*/ 479 w 898"/>
                <a:gd name="T37" fmla="*/ 546 h 898"/>
                <a:gd name="T38" fmla="*/ 461 w 898"/>
                <a:gd name="T39" fmla="*/ 558 h 898"/>
                <a:gd name="T40" fmla="*/ 450 w 898"/>
                <a:gd name="T41" fmla="*/ 299 h 898"/>
                <a:gd name="T42" fmla="*/ 390 w 898"/>
                <a:gd name="T43" fmla="*/ 287 h 898"/>
                <a:gd name="T44" fmla="*/ 398 w 898"/>
                <a:gd name="T45" fmla="*/ 211 h 898"/>
                <a:gd name="T46" fmla="*/ 454 w 898"/>
                <a:gd name="T47" fmla="*/ 118 h 898"/>
                <a:gd name="T48" fmla="*/ 475 w 898"/>
                <a:gd name="T49" fmla="*/ 118 h 898"/>
                <a:gd name="T50" fmla="*/ 530 w 898"/>
                <a:gd name="T51" fmla="*/ 211 h 898"/>
                <a:gd name="T52" fmla="*/ 465 w 898"/>
                <a:gd name="T53" fmla="*/ 763 h 898"/>
                <a:gd name="T54" fmla="*/ 422 w 898"/>
                <a:gd name="T55" fmla="*/ 745 h 898"/>
                <a:gd name="T56" fmla="*/ 405 w 898"/>
                <a:gd name="T57" fmla="*/ 703 h 898"/>
                <a:gd name="T58" fmla="*/ 422 w 898"/>
                <a:gd name="T59" fmla="*/ 661 h 898"/>
                <a:gd name="T60" fmla="*/ 465 w 898"/>
                <a:gd name="T61" fmla="*/ 643 h 898"/>
                <a:gd name="T62" fmla="*/ 506 w 898"/>
                <a:gd name="T63" fmla="*/ 661 h 898"/>
                <a:gd name="T64" fmla="*/ 525 w 898"/>
                <a:gd name="T65" fmla="*/ 703 h 898"/>
                <a:gd name="T66" fmla="*/ 506 w 898"/>
                <a:gd name="T67" fmla="*/ 745 h 898"/>
                <a:gd name="T68" fmla="*/ 465 w 898"/>
                <a:gd name="T69" fmla="*/ 763 h 898"/>
                <a:gd name="T70" fmla="*/ 318 w 898"/>
                <a:gd name="T71" fmla="*/ 419 h 898"/>
                <a:gd name="T72" fmla="*/ 263 w 898"/>
                <a:gd name="T73" fmla="*/ 556 h 898"/>
                <a:gd name="T74" fmla="*/ 242 w 898"/>
                <a:gd name="T75" fmla="*/ 551 h 898"/>
                <a:gd name="T76" fmla="*/ 186 w 898"/>
                <a:gd name="T77" fmla="*/ 417 h 898"/>
                <a:gd name="T78" fmla="*/ 181 w 898"/>
                <a:gd name="T79" fmla="*/ 339 h 898"/>
                <a:gd name="T80" fmla="*/ 240 w 898"/>
                <a:gd name="T81" fmla="*/ 129 h 898"/>
                <a:gd name="T82" fmla="*/ 255 w 898"/>
                <a:gd name="T83" fmla="*/ 114 h 898"/>
                <a:gd name="T84" fmla="*/ 270 w 898"/>
                <a:gd name="T85" fmla="*/ 129 h 898"/>
                <a:gd name="T86" fmla="*/ 329 w 898"/>
                <a:gd name="T87" fmla="*/ 339 h 898"/>
                <a:gd name="T88" fmla="*/ 231 w 898"/>
                <a:gd name="T89" fmla="*/ 758 h 898"/>
                <a:gd name="T90" fmla="*/ 200 w 898"/>
                <a:gd name="T91" fmla="*/ 727 h 898"/>
                <a:gd name="T92" fmla="*/ 200 w 898"/>
                <a:gd name="T93" fmla="*/ 680 h 898"/>
                <a:gd name="T94" fmla="*/ 231 w 898"/>
                <a:gd name="T95" fmla="*/ 648 h 898"/>
                <a:gd name="T96" fmla="*/ 278 w 898"/>
                <a:gd name="T97" fmla="*/ 648 h 898"/>
                <a:gd name="T98" fmla="*/ 311 w 898"/>
                <a:gd name="T99" fmla="*/ 680 h 898"/>
                <a:gd name="T100" fmla="*/ 311 w 898"/>
                <a:gd name="T101" fmla="*/ 727 h 898"/>
                <a:gd name="T102" fmla="*/ 278 w 898"/>
                <a:gd name="T103" fmla="*/ 758 h 898"/>
                <a:gd name="T104" fmla="*/ 10 w 898"/>
                <a:gd name="T105" fmla="*/ 2 h 898"/>
                <a:gd name="T106" fmla="*/ 1 w 898"/>
                <a:gd name="T107" fmla="*/ 886 h 898"/>
                <a:gd name="T108" fmla="*/ 883 w 898"/>
                <a:gd name="T109" fmla="*/ 898 h 898"/>
                <a:gd name="T110" fmla="*/ 898 w 898"/>
                <a:gd name="T111" fmla="*/ 883 h 898"/>
                <a:gd name="T112" fmla="*/ 886 w 898"/>
                <a:gd name="T113" fmla="*/ 0 h 8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98" h="898">
                  <a:moveTo>
                    <a:pt x="718" y="464"/>
                  </a:moveTo>
                  <a:lnTo>
                    <a:pt x="718" y="467"/>
                  </a:lnTo>
                  <a:lnTo>
                    <a:pt x="717" y="470"/>
                  </a:lnTo>
                  <a:lnTo>
                    <a:pt x="716" y="472"/>
                  </a:lnTo>
                  <a:lnTo>
                    <a:pt x="714" y="474"/>
                  </a:lnTo>
                  <a:lnTo>
                    <a:pt x="712" y="477"/>
                  </a:lnTo>
                  <a:lnTo>
                    <a:pt x="710" y="478"/>
                  </a:lnTo>
                  <a:lnTo>
                    <a:pt x="706" y="479"/>
                  </a:lnTo>
                  <a:lnTo>
                    <a:pt x="703" y="479"/>
                  </a:lnTo>
                  <a:lnTo>
                    <a:pt x="658" y="479"/>
                  </a:lnTo>
                  <a:lnTo>
                    <a:pt x="658" y="543"/>
                  </a:lnTo>
                  <a:lnTo>
                    <a:pt x="658" y="546"/>
                  </a:lnTo>
                  <a:lnTo>
                    <a:pt x="657" y="549"/>
                  </a:lnTo>
                  <a:lnTo>
                    <a:pt x="656" y="551"/>
                  </a:lnTo>
                  <a:lnTo>
                    <a:pt x="654" y="554"/>
                  </a:lnTo>
                  <a:lnTo>
                    <a:pt x="652" y="556"/>
                  </a:lnTo>
                  <a:lnTo>
                    <a:pt x="650" y="557"/>
                  </a:lnTo>
                  <a:lnTo>
                    <a:pt x="647" y="558"/>
                  </a:lnTo>
                  <a:lnTo>
                    <a:pt x="643" y="558"/>
                  </a:lnTo>
                  <a:lnTo>
                    <a:pt x="641" y="558"/>
                  </a:lnTo>
                  <a:lnTo>
                    <a:pt x="638" y="557"/>
                  </a:lnTo>
                  <a:lnTo>
                    <a:pt x="636" y="556"/>
                  </a:lnTo>
                  <a:lnTo>
                    <a:pt x="634" y="554"/>
                  </a:lnTo>
                  <a:lnTo>
                    <a:pt x="632" y="551"/>
                  </a:lnTo>
                  <a:lnTo>
                    <a:pt x="631" y="549"/>
                  </a:lnTo>
                  <a:lnTo>
                    <a:pt x="629" y="546"/>
                  </a:lnTo>
                  <a:lnTo>
                    <a:pt x="628" y="543"/>
                  </a:lnTo>
                  <a:lnTo>
                    <a:pt x="628" y="479"/>
                  </a:lnTo>
                  <a:lnTo>
                    <a:pt x="583" y="479"/>
                  </a:lnTo>
                  <a:lnTo>
                    <a:pt x="581" y="479"/>
                  </a:lnTo>
                  <a:lnTo>
                    <a:pt x="578" y="478"/>
                  </a:lnTo>
                  <a:lnTo>
                    <a:pt x="576" y="477"/>
                  </a:lnTo>
                  <a:lnTo>
                    <a:pt x="574" y="474"/>
                  </a:lnTo>
                  <a:lnTo>
                    <a:pt x="572" y="472"/>
                  </a:lnTo>
                  <a:lnTo>
                    <a:pt x="571" y="470"/>
                  </a:lnTo>
                  <a:lnTo>
                    <a:pt x="570" y="467"/>
                  </a:lnTo>
                  <a:lnTo>
                    <a:pt x="570" y="464"/>
                  </a:lnTo>
                  <a:lnTo>
                    <a:pt x="570" y="404"/>
                  </a:lnTo>
                  <a:lnTo>
                    <a:pt x="570" y="402"/>
                  </a:lnTo>
                  <a:lnTo>
                    <a:pt x="571" y="398"/>
                  </a:lnTo>
                  <a:lnTo>
                    <a:pt x="572" y="396"/>
                  </a:lnTo>
                  <a:lnTo>
                    <a:pt x="574" y="394"/>
                  </a:lnTo>
                  <a:lnTo>
                    <a:pt x="576" y="392"/>
                  </a:lnTo>
                  <a:lnTo>
                    <a:pt x="578" y="391"/>
                  </a:lnTo>
                  <a:lnTo>
                    <a:pt x="581" y="390"/>
                  </a:lnTo>
                  <a:lnTo>
                    <a:pt x="583" y="389"/>
                  </a:lnTo>
                  <a:lnTo>
                    <a:pt x="628" y="389"/>
                  </a:lnTo>
                  <a:lnTo>
                    <a:pt x="628" y="129"/>
                  </a:lnTo>
                  <a:lnTo>
                    <a:pt x="629" y="126"/>
                  </a:lnTo>
                  <a:lnTo>
                    <a:pt x="631" y="123"/>
                  </a:lnTo>
                  <a:lnTo>
                    <a:pt x="632" y="121"/>
                  </a:lnTo>
                  <a:lnTo>
                    <a:pt x="634" y="118"/>
                  </a:lnTo>
                  <a:lnTo>
                    <a:pt x="636" y="117"/>
                  </a:lnTo>
                  <a:lnTo>
                    <a:pt x="638" y="115"/>
                  </a:lnTo>
                  <a:lnTo>
                    <a:pt x="641" y="114"/>
                  </a:lnTo>
                  <a:lnTo>
                    <a:pt x="643" y="114"/>
                  </a:lnTo>
                  <a:lnTo>
                    <a:pt x="647" y="114"/>
                  </a:lnTo>
                  <a:lnTo>
                    <a:pt x="650" y="115"/>
                  </a:lnTo>
                  <a:lnTo>
                    <a:pt x="652" y="117"/>
                  </a:lnTo>
                  <a:lnTo>
                    <a:pt x="654" y="118"/>
                  </a:lnTo>
                  <a:lnTo>
                    <a:pt x="656" y="121"/>
                  </a:lnTo>
                  <a:lnTo>
                    <a:pt x="657" y="123"/>
                  </a:lnTo>
                  <a:lnTo>
                    <a:pt x="658" y="127"/>
                  </a:lnTo>
                  <a:lnTo>
                    <a:pt x="658" y="129"/>
                  </a:lnTo>
                  <a:lnTo>
                    <a:pt x="658" y="389"/>
                  </a:lnTo>
                  <a:lnTo>
                    <a:pt x="703" y="389"/>
                  </a:lnTo>
                  <a:lnTo>
                    <a:pt x="706" y="390"/>
                  </a:lnTo>
                  <a:lnTo>
                    <a:pt x="710" y="391"/>
                  </a:lnTo>
                  <a:lnTo>
                    <a:pt x="712" y="392"/>
                  </a:lnTo>
                  <a:lnTo>
                    <a:pt x="714" y="394"/>
                  </a:lnTo>
                  <a:lnTo>
                    <a:pt x="716" y="396"/>
                  </a:lnTo>
                  <a:lnTo>
                    <a:pt x="717" y="398"/>
                  </a:lnTo>
                  <a:lnTo>
                    <a:pt x="718" y="402"/>
                  </a:lnTo>
                  <a:lnTo>
                    <a:pt x="718" y="404"/>
                  </a:lnTo>
                  <a:lnTo>
                    <a:pt x="718" y="464"/>
                  </a:lnTo>
                  <a:close/>
                  <a:moveTo>
                    <a:pt x="643" y="763"/>
                  </a:moveTo>
                  <a:lnTo>
                    <a:pt x="638" y="762"/>
                  </a:lnTo>
                  <a:lnTo>
                    <a:pt x="632" y="762"/>
                  </a:lnTo>
                  <a:lnTo>
                    <a:pt x="626" y="760"/>
                  </a:lnTo>
                  <a:lnTo>
                    <a:pt x="621" y="758"/>
                  </a:lnTo>
                  <a:lnTo>
                    <a:pt x="616" y="756"/>
                  </a:lnTo>
                  <a:lnTo>
                    <a:pt x="610" y="753"/>
                  </a:lnTo>
                  <a:lnTo>
                    <a:pt x="606" y="749"/>
                  </a:lnTo>
                  <a:lnTo>
                    <a:pt x="602" y="745"/>
                  </a:lnTo>
                  <a:lnTo>
                    <a:pt x="597" y="741"/>
                  </a:lnTo>
                  <a:lnTo>
                    <a:pt x="594" y="737"/>
                  </a:lnTo>
                  <a:lnTo>
                    <a:pt x="591" y="731"/>
                  </a:lnTo>
                  <a:lnTo>
                    <a:pt x="589" y="727"/>
                  </a:lnTo>
                  <a:lnTo>
                    <a:pt x="587" y="720"/>
                  </a:lnTo>
                  <a:lnTo>
                    <a:pt x="586" y="715"/>
                  </a:lnTo>
                  <a:lnTo>
                    <a:pt x="584" y="710"/>
                  </a:lnTo>
                  <a:lnTo>
                    <a:pt x="583" y="703"/>
                  </a:lnTo>
                  <a:lnTo>
                    <a:pt x="584" y="697"/>
                  </a:lnTo>
                  <a:lnTo>
                    <a:pt x="586" y="692"/>
                  </a:lnTo>
                  <a:lnTo>
                    <a:pt x="587" y="685"/>
                  </a:lnTo>
                  <a:lnTo>
                    <a:pt x="589" y="680"/>
                  </a:lnTo>
                  <a:lnTo>
                    <a:pt x="591" y="674"/>
                  </a:lnTo>
                  <a:lnTo>
                    <a:pt x="594" y="670"/>
                  </a:lnTo>
                  <a:lnTo>
                    <a:pt x="597" y="665"/>
                  </a:lnTo>
                  <a:lnTo>
                    <a:pt x="602" y="661"/>
                  </a:lnTo>
                  <a:lnTo>
                    <a:pt x="606" y="657"/>
                  </a:lnTo>
                  <a:lnTo>
                    <a:pt x="610" y="653"/>
                  </a:lnTo>
                  <a:lnTo>
                    <a:pt x="616" y="651"/>
                  </a:lnTo>
                  <a:lnTo>
                    <a:pt x="621" y="648"/>
                  </a:lnTo>
                  <a:lnTo>
                    <a:pt x="626" y="646"/>
                  </a:lnTo>
                  <a:lnTo>
                    <a:pt x="632" y="645"/>
                  </a:lnTo>
                  <a:lnTo>
                    <a:pt x="638" y="643"/>
                  </a:lnTo>
                  <a:lnTo>
                    <a:pt x="643" y="643"/>
                  </a:lnTo>
                  <a:lnTo>
                    <a:pt x="650" y="643"/>
                  </a:lnTo>
                  <a:lnTo>
                    <a:pt x="656" y="645"/>
                  </a:lnTo>
                  <a:lnTo>
                    <a:pt x="662" y="646"/>
                  </a:lnTo>
                  <a:lnTo>
                    <a:pt x="667" y="648"/>
                  </a:lnTo>
                  <a:lnTo>
                    <a:pt x="672" y="651"/>
                  </a:lnTo>
                  <a:lnTo>
                    <a:pt x="678" y="653"/>
                  </a:lnTo>
                  <a:lnTo>
                    <a:pt x="682" y="657"/>
                  </a:lnTo>
                  <a:lnTo>
                    <a:pt x="686" y="661"/>
                  </a:lnTo>
                  <a:lnTo>
                    <a:pt x="690" y="665"/>
                  </a:lnTo>
                  <a:lnTo>
                    <a:pt x="694" y="670"/>
                  </a:lnTo>
                  <a:lnTo>
                    <a:pt x="697" y="674"/>
                  </a:lnTo>
                  <a:lnTo>
                    <a:pt x="699" y="680"/>
                  </a:lnTo>
                  <a:lnTo>
                    <a:pt x="701" y="685"/>
                  </a:lnTo>
                  <a:lnTo>
                    <a:pt x="702" y="692"/>
                  </a:lnTo>
                  <a:lnTo>
                    <a:pt x="703" y="697"/>
                  </a:lnTo>
                  <a:lnTo>
                    <a:pt x="703" y="703"/>
                  </a:lnTo>
                  <a:lnTo>
                    <a:pt x="703" y="710"/>
                  </a:lnTo>
                  <a:lnTo>
                    <a:pt x="702" y="715"/>
                  </a:lnTo>
                  <a:lnTo>
                    <a:pt x="701" y="720"/>
                  </a:lnTo>
                  <a:lnTo>
                    <a:pt x="699" y="727"/>
                  </a:lnTo>
                  <a:lnTo>
                    <a:pt x="697" y="731"/>
                  </a:lnTo>
                  <a:lnTo>
                    <a:pt x="694" y="737"/>
                  </a:lnTo>
                  <a:lnTo>
                    <a:pt x="690" y="741"/>
                  </a:lnTo>
                  <a:lnTo>
                    <a:pt x="686" y="745"/>
                  </a:lnTo>
                  <a:lnTo>
                    <a:pt x="682" y="749"/>
                  </a:lnTo>
                  <a:lnTo>
                    <a:pt x="678" y="753"/>
                  </a:lnTo>
                  <a:lnTo>
                    <a:pt x="672" y="756"/>
                  </a:lnTo>
                  <a:lnTo>
                    <a:pt x="667" y="758"/>
                  </a:lnTo>
                  <a:lnTo>
                    <a:pt x="662" y="760"/>
                  </a:lnTo>
                  <a:lnTo>
                    <a:pt x="656" y="762"/>
                  </a:lnTo>
                  <a:lnTo>
                    <a:pt x="650" y="762"/>
                  </a:lnTo>
                  <a:lnTo>
                    <a:pt x="643" y="763"/>
                  </a:lnTo>
                  <a:close/>
                  <a:moveTo>
                    <a:pt x="540" y="284"/>
                  </a:moveTo>
                  <a:lnTo>
                    <a:pt x="538" y="287"/>
                  </a:lnTo>
                  <a:lnTo>
                    <a:pt x="537" y="290"/>
                  </a:lnTo>
                  <a:lnTo>
                    <a:pt x="536" y="294"/>
                  </a:lnTo>
                  <a:lnTo>
                    <a:pt x="534" y="296"/>
                  </a:lnTo>
                  <a:lnTo>
                    <a:pt x="532" y="297"/>
                  </a:lnTo>
                  <a:lnTo>
                    <a:pt x="530" y="298"/>
                  </a:lnTo>
                  <a:lnTo>
                    <a:pt x="527" y="299"/>
                  </a:lnTo>
                  <a:lnTo>
                    <a:pt x="525" y="299"/>
                  </a:lnTo>
                  <a:lnTo>
                    <a:pt x="480" y="299"/>
                  </a:lnTo>
                  <a:lnTo>
                    <a:pt x="480" y="543"/>
                  </a:lnTo>
                  <a:lnTo>
                    <a:pt x="479" y="546"/>
                  </a:lnTo>
                  <a:lnTo>
                    <a:pt x="479" y="549"/>
                  </a:lnTo>
                  <a:lnTo>
                    <a:pt x="476" y="551"/>
                  </a:lnTo>
                  <a:lnTo>
                    <a:pt x="475" y="554"/>
                  </a:lnTo>
                  <a:lnTo>
                    <a:pt x="472" y="556"/>
                  </a:lnTo>
                  <a:lnTo>
                    <a:pt x="470" y="557"/>
                  </a:lnTo>
                  <a:lnTo>
                    <a:pt x="467" y="558"/>
                  </a:lnTo>
                  <a:lnTo>
                    <a:pt x="465" y="558"/>
                  </a:lnTo>
                  <a:lnTo>
                    <a:pt x="461" y="558"/>
                  </a:lnTo>
                  <a:lnTo>
                    <a:pt x="458" y="557"/>
                  </a:lnTo>
                  <a:lnTo>
                    <a:pt x="456" y="556"/>
                  </a:lnTo>
                  <a:lnTo>
                    <a:pt x="454" y="554"/>
                  </a:lnTo>
                  <a:lnTo>
                    <a:pt x="452" y="551"/>
                  </a:lnTo>
                  <a:lnTo>
                    <a:pt x="451" y="549"/>
                  </a:lnTo>
                  <a:lnTo>
                    <a:pt x="450" y="546"/>
                  </a:lnTo>
                  <a:lnTo>
                    <a:pt x="450" y="543"/>
                  </a:lnTo>
                  <a:lnTo>
                    <a:pt x="450" y="299"/>
                  </a:lnTo>
                  <a:lnTo>
                    <a:pt x="405" y="299"/>
                  </a:lnTo>
                  <a:lnTo>
                    <a:pt x="402" y="299"/>
                  </a:lnTo>
                  <a:lnTo>
                    <a:pt x="398" y="298"/>
                  </a:lnTo>
                  <a:lnTo>
                    <a:pt x="396" y="297"/>
                  </a:lnTo>
                  <a:lnTo>
                    <a:pt x="394" y="296"/>
                  </a:lnTo>
                  <a:lnTo>
                    <a:pt x="392" y="294"/>
                  </a:lnTo>
                  <a:lnTo>
                    <a:pt x="391" y="290"/>
                  </a:lnTo>
                  <a:lnTo>
                    <a:pt x="390" y="287"/>
                  </a:lnTo>
                  <a:lnTo>
                    <a:pt x="390" y="284"/>
                  </a:lnTo>
                  <a:lnTo>
                    <a:pt x="390" y="225"/>
                  </a:lnTo>
                  <a:lnTo>
                    <a:pt x="390" y="222"/>
                  </a:lnTo>
                  <a:lnTo>
                    <a:pt x="391" y="219"/>
                  </a:lnTo>
                  <a:lnTo>
                    <a:pt x="392" y="217"/>
                  </a:lnTo>
                  <a:lnTo>
                    <a:pt x="394" y="214"/>
                  </a:lnTo>
                  <a:lnTo>
                    <a:pt x="396" y="212"/>
                  </a:lnTo>
                  <a:lnTo>
                    <a:pt x="398" y="211"/>
                  </a:lnTo>
                  <a:lnTo>
                    <a:pt x="402" y="210"/>
                  </a:lnTo>
                  <a:lnTo>
                    <a:pt x="405" y="210"/>
                  </a:lnTo>
                  <a:lnTo>
                    <a:pt x="450" y="210"/>
                  </a:lnTo>
                  <a:lnTo>
                    <a:pt x="450" y="129"/>
                  </a:lnTo>
                  <a:lnTo>
                    <a:pt x="450" y="126"/>
                  </a:lnTo>
                  <a:lnTo>
                    <a:pt x="451" y="123"/>
                  </a:lnTo>
                  <a:lnTo>
                    <a:pt x="452" y="121"/>
                  </a:lnTo>
                  <a:lnTo>
                    <a:pt x="454" y="118"/>
                  </a:lnTo>
                  <a:lnTo>
                    <a:pt x="456" y="117"/>
                  </a:lnTo>
                  <a:lnTo>
                    <a:pt x="458" y="115"/>
                  </a:lnTo>
                  <a:lnTo>
                    <a:pt x="461" y="114"/>
                  </a:lnTo>
                  <a:lnTo>
                    <a:pt x="465" y="114"/>
                  </a:lnTo>
                  <a:lnTo>
                    <a:pt x="467" y="114"/>
                  </a:lnTo>
                  <a:lnTo>
                    <a:pt x="470" y="115"/>
                  </a:lnTo>
                  <a:lnTo>
                    <a:pt x="472" y="117"/>
                  </a:lnTo>
                  <a:lnTo>
                    <a:pt x="475" y="118"/>
                  </a:lnTo>
                  <a:lnTo>
                    <a:pt x="476" y="121"/>
                  </a:lnTo>
                  <a:lnTo>
                    <a:pt x="479" y="123"/>
                  </a:lnTo>
                  <a:lnTo>
                    <a:pt x="479" y="127"/>
                  </a:lnTo>
                  <a:lnTo>
                    <a:pt x="480" y="129"/>
                  </a:lnTo>
                  <a:lnTo>
                    <a:pt x="480" y="210"/>
                  </a:lnTo>
                  <a:lnTo>
                    <a:pt x="525" y="210"/>
                  </a:lnTo>
                  <a:lnTo>
                    <a:pt x="527" y="210"/>
                  </a:lnTo>
                  <a:lnTo>
                    <a:pt x="530" y="211"/>
                  </a:lnTo>
                  <a:lnTo>
                    <a:pt x="532" y="212"/>
                  </a:lnTo>
                  <a:lnTo>
                    <a:pt x="534" y="214"/>
                  </a:lnTo>
                  <a:lnTo>
                    <a:pt x="536" y="217"/>
                  </a:lnTo>
                  <a:lnTo>
                    <a:pt x="537" y="219"/>
                  </a:lnTo>
                  <a:lnTo>
                    <a:pt x="538" y="222"/>
                  </a:lnTo>
                  <a:lnTo>
                    <a:pt x="540" y="225"/>
                  </a:lnTo>
                  <a:lnTo>
                    <a:pt x="540" y="284"/>
                  </a:lnTo>
                  <a:close/>
                  <a:moveTo>
                    <a:pt x="465" y="763"/>
                  </a:moveTo>
                  <a:lnTo>
                    <a:pt x="458" y="762"/>
                  </a:lnTo>
                  <a:lnTo>
                    <a:pt x="452" y="762"/>
                  </a:lnTo>
                  <a:lnTo>
                    <a:pt x="446" y="760"/>
                  </a:lnTo>
                  <a:lnTo>
                    <a:pt x="441" y="758"/>
                  </a:lnTo>
                  <a:lnTo>
                    <a:pt x="436" y="756"/>
                  </a:lnTo>
                  <a:lnTo>
                    <a:pt x="430" y="753"/>
                  </a:lnTo>
                  <a:lnTo>
                    <a:pt x="426" y="749"/>
                  </a:lnTo>
                  <a:lnTo>
                    <a:pt x="422" y="745"/>
                  </a:lnTo>
                  <a:lnTo>
                    <a:pt x="419" y="741"/>
                  </a:lnTo>
                  <a:lnTo>
                    <a:pt x="414" y="737"/>
                  </a:lnTo>
                  <a:lnTo>
                    <a:pt x="412" y="731"/>
                  </a:lnTo>
                  <a:lnTo>
                    <a:pt x="409" y="727"/>
                  </a:lnTo>
                  <a:lnTo>
                    <a:pt x="407" y="720"/>
                  </a:lnTo>
                  <a:lnTo>
                    <a:pt x="406" y="715"/>
                  </a:lnTo>
                  <a:lnTo>
                    <a:pt x="405" y="710"/>
                  </a:lnTo>
                  <a:lnTo>
                    <a:pt x="405" y="703"/>
                  </a:lnTo>
                  <a:lnTo>
                    <a:pt x="405" y="697"/>
                  </a:lnTo>
                  <a:lnTo>
                    <a:pt x="406" y="692"/>
                  </a:lnTo>
                  <a:lnTo>
                    <a:pt x="407" y="685"/>
                  </a:lnTo>
                  <a:lnTo>
                    <a:pt x="409" y="680"/>
                  </a:lnTo>
                  <a:lnTo>
                    <a:pt x="412" y="674"/>
                  </a:lnTo>
                  <a:lnTo>
                    <a:pt x="414" y="670"/>
                  </a:lnTo>
                  <a:lnTo>
                    <a:pt x="419" y="665"/>
                  </a:lnTo>
                  <a:lnTo>
                    <a:pt x="422" y="661"/>
                  </a:lnTo>
                  <a:lnTo>
                    <a:pt x="426" y="657"/>
                  </a:lnTo>
                  <a:lnTo>
                    <a:pt x="430" y="653"/>
                  </a:lnTo>
                  <a:lnTo>
                    <a:pt x="436" y="651"/>
                  </a:lnTo>
                  <a:lnTo>
                    <a:pt x="441" y="648"/>
                  </a:lnTo>
                  <a:lnTo>
                    <a:pt x="446" y="646"/>
                  </a:lnTo>
                  <a:lnTo>
                    <a:pt x="452" y="645"/>
                  </a:lnTo>
                  <a:lnTo>
                    <a:pt x="458" y="643"/>
                  </a:lnTo>
                  <a:lnTo>
                    <a:pt x="465" y="643"/>
                  </a:lnTo>
                  <a:lnTo>
                    <a:pt x="470" y="643"/>
                  </a:lnTo>
                  <a:lnTo>
                    <a:pt x="476" y="645"/>
                  </a:lnTo>
                  <a:lnTo>
                    <a:pt x="482" y="646"/>
                  </a:lnTo>
                  <a:lnTo>
                    <a:pt x="487" y="648"/>
                  </a:lnTo>
                  <a:lnTo>
                    <a:pt x="492" y="651"/>
                  </a:lnTo>
                  <a:lnTo>
                    <a:pt x="498" y="653"/>
                  </a:lnTo>
                  <a:lnTo>
                    <a:pt x="502" y="657"/>
                  </a:lnTo>
                  <a:lnTo>
                    <a:pt x="506" y="661"/>
                  </a:lnTo>
                  <a:lnTo>
                    <a:pt x="511" y="665"/>
                  </a:lnTo>
                  <a:lnTo>
                    <a:pt x="514" y="670"/>
                  </a:lnTo>
                  <a:lnTo>
                    <a:pt x="517" y="674"/>
                  </a:lnTo>
                  <a:lnTo>
                    <a:pt x="519" y="680"/>
                  </a:lnTo>
                  <a:lnTo>
                    <a:pt x="521" y="685"/>
                  </a:lnTo>
                  <a:lnTo>
                    <a:pt x="522" y="692"/>
                  </a:lnTo>
                  <a:lnTo>
                    <a:pt x="524" y="697"/>
                  </a:lnTo>
                  <a:lnTo>
                    <a:pt x="525" y="703"/>
                  </a:lnTo>
                  <a:lnTo>
                    <a:pt x="524" y="710"/>
                  </a:lnTo>
                  <a:lnTo>
                    <a:pt x="522" y="715"/>
                  </a:lnTo>
                  <a:lnTo>
                    <a:pt x="521" y="720"/>
                  </a:lnTo>
                  <a:lnTo>
                    <a:pt x="519" y="727"/>
                  </a:lnTo>
                  <a:lnTo>
                    <a:pt x="517" y="731"/>
                  </a:lnTo>
                  <a:lnTo>
                    <a:pt x="514" y="737"/>
                  </a:lnTo>
                  <a:lnTo>
                    <a:pt x="511" y="741"/>
                  </a:lnTo>
                  <a:lnTo>
                    <a:pt x="506" y="745"/>
                  </a:lnTo>
                  <a:lnTo>
                    <a:pt x="502" y="749"/>
                  </a:lnTo>
                  <a:lnTo>
                    <a:pt x="498" y="753"/>
                  </a:lnTo>
                  <a:lnTo>
                    <a:pt x="492" y="756"/>
                  </a:lnTo>
                  <a:lnTo>
                    <a:pt x="487" y="758"/>
                  </a:lnTo>
                  <a:lnTo>
                    <a:pt x="482" y="760"/>
                  </a:lnTo>
                  <a:lnTo>
                    <a:pt x="476" y="762"/>
                  </a:lnTo>
                  <a:lnTo>
                    <a:pt x="470" y="762"/>
                  </a:lnTo>
                  <a:lnTo>
                    <a:pt x="465" y="763"/>
                  </a:lnTo>
                  <a:close/>
                  <a:moveTo>
                    <a:pt x="330" y="404"/>
                  </a:moveTo>
                  <a:lnTo>
                    <a:pt x="330" y="407"/>
                  </a:lnTo>
                  <a:lnTo>
                    <a:pt x="329" y="410"/>
                  </a:lnTo>
                  <a:lnTo>
                    <a:pt x="328" y="412"/>
                  </a:lnTo>
                  <a:lnTo>
                    <a:pt x="326" y="414"/>
                  </a:lnTo>
                  <a:lnTo>
                    <a:pt x="323" y="417"/>
                  </a:lnTo>
                  <a:lnTo>
                    <a:pt x="320" y="418"/>
                  </a:lnTo>
                  <a:lnTo>
                    <a:pt x="318" y="419"/>
                  </a:lnTo>
                  <a:lnTo>
                    <a:pt x="315" y="419"/>
                  </a:lnTo>
                  <a:lnTo>
                    <a:pt x="270" y="419"/>
                  </a:lnTo>
                  <a:lnTo>
                    <a:pt x="270" y="543"/>
                  </a:lnTo>
                  <a:lnTo>
                    <a:pt x="270" y="546"/>
                  </a:lnTo>
                  <a:lnTo>
                    <a:pt x="269" y="549"/>
                  </a:lnTo>
                  <a:lnTo>
                    <a:pt x="268" y="551"/>
                  </a:lnTo>
                  <a:lnTo>
                    <a:pt x="266" y="554"/>
                  </a:lnTo>
                  <a:lnTo>
                    <a:pt x="263" y="556"/>
                  </a:lnTo>
                  <a:lnTo>
                    <a:pt x="260" y="557"/>
                  </a:lnTo>
                  <a:lnTo>
                    <a:pt x="258" y="558"/>
                  </a:lnTo>
                  <a:lnTo>
                    <a:pt x="255" y="558"/>
                  </a:lnTo>
                  <a:lnTo>
                    <a:pt x="252" y="558"/>
                  </a:lnTo>
                  <a:lnTo>
                    <a:pt x="250" y="557"/>
                  </a:lnTo>
                  <a:lnTo>
                    <a:pt x="246" y="556"/>
                  </a:lnTo>
                  <a:lnTo>
                    <a:pt x="244" y="554"/>
                  </a:lnTo>
                  <a:lnTo>
                    <a:pt x="242" y="551"/>
                  </a:lnTo>
                  <a:lnTo>
                    <a:pt x="241" y="549"/>
                  </a:lnTo>
                  <a:lnTo>
                    <a:pt x="240" y="546"/>
                  </a:lnTo>
                  <a:lnTo>
                    <a:pt x="240" y="543"/>
                  </a:lnTo>
                  <a:lnTo>
                    <a:pt x="240" y="419"/>
                  </a:lnTo>
                  <a:lnTo>
                    <a:pt x="195" y="419"/>
                  </a:lnTo>
                  <a:lnTo>
                    <a:pt x="192" y="419"/>
                  </a:lnTo>
                  <a:lnTo>
                    <a:pt x="190" y="418"/>
                  </a:lnTo>
                  <a:lnTo>
                    <a:pt x="186" y="417"/>
                  </a:lnTo>
                  <a:lnTo>
                    <a:pt x="184" y="414"/>
                  </a:lnTo>
                  <a:lnTo>
                    <a:pt x="183" y="412"/>
                  </a:lnTo>
                  <a:lnTo>
                    <a:pt x="181" y="410"/>
                  </a:lnTo>
                  <a:lnTo>
                    <a:pt x="180" y="407"/>
                  </a:lnTo>
                  <a:lnTo>
                    <a:pt x="180" y="404"/>
                  </a:lnTo>
                  <a:lnTo>
                    <a:pt x="180" y="344"/>
                  </a:lnTo>
                  <a:lnTo>
                    <a:pt x="180" y="342"/>
                  </a:lnTo>
                  <a:lnTo>
                    <a:pt x="181" y="339"/>
                  </a:lnTo>
                  <a:lnTo>
                    <a:pt x="183" y="336"/>
                  </a:lnTo>
                  <a:lnTo>
                    <a:pt x="184" y="334"/>
                  </a:lnTo>
                  <a:lnTo>
                    <a:pt x="186" y="332"/>
                  </a:lnTo>
                  <a:lnTo>
                    <a:pt x="190" y="331"/>
                  </a:lnTo>
                  <a:lnTo>
                    <a:pt x="192" y="330"/>
                  </a:lnTo>
                  <a:lnTo>
                    <a:pt x="195" y="329"/>
                  </a:lnTo>
                  <a:lnTo>
                    <a:pt x="240" y="329"/>
                  </a:lnTo>
                  <a:lnTo>
                    <a:pt x="240" y="129"/>
                  </a:lnTo>
                  <a:lnTo>
                    <a:pt x="240" y="126"/>
                  </a:lnTo>
                  <a:lnTo>
                    <a:pt x="241" y="123"/>
                  </a:lnTo>
                  <a:lnTo>
                    <a:pt x="242" y="121"/>
                  </a:lnTo>
                  <a:lnTo>
                    <a:pt x="244" y="118"/>
                  </a:lnTo>
                  <a:lnTo>
                    <a:pt x="246" y="117"/>
                  </a:lnTo>
                  <a:lnTo>
                    <a:pt x="250" y="115"/>
                  </a:lnTo>
                  <a:lnTo>
                    <a:pt x="252" y="114"/>
                  </a:lnTo>
                  <a:lnTo>
                    <a:pt x="255" y="114"/>
                  </a:lnTo>
                  <a:lnTo>
                    <a:pt x="258" y="114"/>
                  </a:lnTo>
                  <a:lnTo>
                    <a:pt x="260" y="115"/>
                  </a:lnTo>
                  <a:lnTo>
                    <a:pt x="263" y="117"/>
                  </a:lnTo>
                  <a:lnTo>
                    <a:pt x="266" y="118"/>
                  </a:lnTo>
                  <a:lnTo>
                    <a:pt x="268" y="121"/>
                  </a:lnTo>
                  <a:lnTo>
                    <a:pt x="269" y="123"/>
                  </a:lnTo>
                  <a:lnTo>
                    <a:pt x="270" y="127"/>
                  </a:lnTo>
                  <a:lnTo>
                    <a:pt x="270" y="129"/>
                  </a:lnTo>
                  <a:lnTo>
                    <a:pt x="270" y="329"/>
                  </a:lnTo>
                  <a:lnTo>
                    <a:pt x="315" y="329"/>
                  </a:lnTo>
                  <a:lnTo>
                    <a:pt x="318" y="330"/>
                  </a:lnTo>
                  <a:lnTo>
                    <a:pt x="320" y="331"/>
                  </a:lnTo>
                  <a:lnTo>
                    <a:pt x="323" y="332"/>
                  </a:lnTo>
                  <a:lnTo>
                    <a:pt x="326" y="334"/>
                  </a:lnTo>
                  <a:lnTo>
                    <a:pt x="328" y="336"/>
                  </a:lnTo>
                  <a:lnTo>
                    <a:pt x="329" y="339"/>
                  </a:lnTo>
                  <a:lnTo>
                    <a:pt x="330" y="342"/>
                  </a:lnTo>
                  <a:lnTo>
                    <a:pt x="330" y="344"/>
                  </a:lnTo>
                  <a:lnTo>
                    <a:pt x="330" y="404"/>
                  </a:lnTo>
                  <a:close/>
                  <a:moveTo>
                    <a:pt x="255" y="763"/>
                  </a:moveTo>
                  <a:lnTo>
                    <a:pt x="249" y="762"/>
                  </a:lnTo>
                  <a:lnTo>
                    <a:pt x="243" y="762"/>
                  </a:lnTo>
                  <a:lnTo>
                    <a:pt x="237" y="760"/>
                  </a:lnTo>
                  <a:lnTo>
                    <a:pt x="231" y="758"/>
                  </a:lnTo>
                  <a:lnTo>
                    <a:pt x="226" y="756"/>
                  </a:lnTo>
                  <a:lnTo>
                    <a:pt x="222" y="753"/>
                  </a:lnTo>
                  <a:lnTo>
                    <a:pt x="216" y="749"/>
                  </a:lnTo>
                  <a:lnTo>
                    <a:pt x="212" y="745"/>
                  </a:lnTo>
                  <a:lnTo>
                    <a:pt x="209" y="741"/>
                  </a:lnTo>
                  <a:lnTo>
                    <a:pt x="206" y="737"/>
                  </a:lnTo>
                  <a:lnTo>
                    <a:pt x="203" y="731"/>
                  </a:lnTo>
                  <a:lnTo>
                    <a:pt x="200" y="727"/>
                  </a:lnTo>
                  <a:lnTo>
                    <a:pt x="198" y="720"/>
                  </a:lnTo>
                  <a:lnTo>
                    <a:pt x="196" y="715"/>
                  </a:lnTo>
                  <a:lnTo>
                    <a:pt x="195" y="710"/>
                  </a:lnTo>
                  <a:lnTo>
                    <a:pt x="195" y="703"/>
                  </a:lnTo>
                  <a:lnTo>
                    <a:pt x="195" y="697"/>
                  </a:lnTo>
                  <a:lnTo>
                    <a:pt x="196" y="692"/>
                  </a:lnTo>
                  <a:lnTo>
                    <a:pt x="198" y="685"/>
                  </a:lnTo>
                  <a:lnTo>
                    <a:pt x="200" y="680"/>
                  </a:lnTo>
                  <a:lnTo>
                    <a:pt x="203" y="674"/>
                  </a:lnTo>
                  <a:lnTo>
                    <a:pt x="206" y="670"/>
                  </a:lnTo>
                  <a:lnTo>
                    <a:pt x="209" y="665"/>
                  </a:lnTo>
                  <a:lnTo>
                    <a:pt x="212" y="661"/>
                  </a:lnTo>
                  <a:lnTo>
                    <a:pt x="216" y="657"/>
                  </a:lnTo>
                  <a:lnTo>
                    <a:pt x="222" y="653"/>
                  </a:lnTo>
                  <a:lnTo>
                    <a:pt x="226" y="651"/>
                  </a:lnTo>
                  <a:lnTo>
                    <a:pt x="231" y="648"/>
                  </a:lnTo>
                  <a:lnTo>
                    <a:pt x="237" y="646"/>
                  </a:lnTo>
                  <a:lnTo>
                    <a:pt x="243" y="645"/>
                  </a:lnTo>
                  <a:lnTo>
                    <a:pt x="249" y="643"/>
                  </a:lnTo>
                  <a:lnTo>
                    <a:pt x="255" y="643"/>
                  </a:lnTo>
                  <a:lnTo>
                    <a:pt x="261" y="643"/>
                  </a:lnTo>
                  <a:lnTo>
                    <a:pt x="267" y="645"/>
                  </a:lnTo>
                  <a:lnTo>
                    <a:pt x="273" y="646"/>
                  </a:lnTo>
                  <a:lnTo>
                    <a:pt x="278" y="648"/>
                  </a:lnTo>
                  <a:lnTo>
                    <a:pt x="284" y="651"/>
                  </a:lnTo>
                  <a:lnTo>
                    <a:pt x="288" y="653"/>
                  </a:lnTo>
                  <a:lnTo>
                    <a:pt x="293" y="657"/>
                  </a:lnTo>
                  <a:lnTo>
                    <a:pt x="298" y="661"/>
                  </a:lnTo>
                  <a:lnTo>
                    <a:pt x="301" y="665"/>
                  </a:lnTo>
                  <a:lnTo>
                    <a:pt x="304" y="670"/>
                  </a:lnTo>
                  <a:lnTo>
                    <a:pt x="307" y="674"/>
                  </a:lnTo>
                  <a:lnTo>
                    <a:pt x="311" y="680"/>
                  </a:lnTo>
                  <a:lnTo>
                    <a:pt x="312" y="685"/>
                  </a:lnTo>
                  <a:lnTo>
                    <a:pt x="314" y="692"/>
                  </a:lnTo>
                  <a:lnTo>
                    <a:pt x="315" y="697"/>
                  </a:lnTo>
                  <a:lnTo>
                    <a:pt x="315" y="703"/>
                  </a:lnTo>
                  <a:lnTo>
                    <a:pt x="315" y="710"/>
                  </a:lnTo>
                  <a:lnTo>
                    <a:pt x="314" y="715"/>
                  </a:lnTo>
                  <a:lnTo>
                    <a:pt x="312" y="720"/>
                  </a:lnTo>
                  <a:lnTo>
                    <a:pt x="311" y="727"/>
                  </a:lnTo>
                  <a:lnTo>
                    <a:pt x="307" y="731"/>
                  </a:lnTo>
                  <a:lnTo>
                    <a:pt x="304" y="737"/>
                  </a:lnTo>
                  <a:lnTo>
                    <a:pt x="301" y="741"/>
                  </a:lnTo>
                  <a:lnTo>
                    <a:pt x="298" y="745"/>
                  </a:lnTo>
                  <a:lnTo>
                    <a:pt x="293" y="749"/>
                  </a:lnTo>
                  <a:lnTo>
                    <a:pt x="288" y="753"/>
                  </a:lnTo>
                  <a:lnTo>
                    <a:pt x="284" y="756"/>
                  </a:lnTo>
                  <a:lnTo>
                    <a:pt x="278" y="758"/>
                  </a:lnTo>
                  <a:lnTo>
                    <a:pt x="273" y="760"/>
                  </a:lnTo>
                  <a:lnTo>
                    <a:pt x="267" y="762"/>
                  </a:lnTo>
                  <a:lnTo>
                    <a:pt x="261" y="762"/>
                  </a:lnTo>
                  <a:lnTo>
                    <a:pt x="255" y="763"/>
                  </a:lnTo>
                  <a:close/>
                  <a:moveTo>
                    <a:pt x="883" y="0"/>
                  </a:moveTo>
                  <a:lnTo>
                    <a:pt x="15" y="0"/>
                  </a:lnTo>
                  <a:lnTo>
                    <a:pt x="13" y="0"/>
                  </a:lnTo>
                  <a:lnTo>
                    <a:pt x="10" y="2"/>
                  </a:lnTo>
                  <a:lnTo>
                    <a:pt x="8" y="3"/>
                  </a:lnTo>
                  <a:lnTo>
                    <a:pt x="6" y="5"/>
                  </a:lnTo>
                  <a:lnTo>
                    <a:pt x="3" y="7"/>
                  </a:lnTo>
                  <a:lnTo>
                    <a:pt x="2" y="10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0" y="883"/>
                  </a:lnTo>
                  <a:lnTo>
                    <a:pt x="1" y="886"/>
                  </a:lnTo>
                  <a:lnTo>
                    <a:pt x="2" y="888"/>
                  </a:lnTo>
                  <a:lnTo>
                    <a:pt x="3" y="892"/>
                  </a:lnTo>
                  <a:lnTo>
                    <a:pt x="6" y="894"/>
                  </a:lnTo>
                  <a:lnTo>
                    <a:pt x="8" y="895"/>
                  </a:lnTo>
                  <a:lnTo>
                    <a:pt x="10" y="897"/>
                  </a:lnTo>
                  <a:lnTo>
                    <a:pt x="13" y="897"/>
                  </a:lnTo>
                  <a:lnTo>
                    <a:pt x="15" y="898"/>
                  </a:lnTo>
                  <a:lnTo>
                    <a:pt x="883" y="898"/>
                  </a:lnTo>
                  <a:lnTo>
                    <a:pt x="886" y="897"/>
                  </a:lnTo>
                  <a:lnTo>
                    <a:pt x="888" y="897"/>
                  </a:lnTo>
                  <a:lnTo>
                    <a:pt x="892" y="895"/>
                  </a:lnTo>
                  <a:lnTo>
                    <a:pt x="894" y="894"/>
                  </a:lnTo>
                  <a:lnTo>
                    <a:pt x="896" y="892"/>
                  </a:lnTo>
                  <a:lnTo>
                    <a:pt x="897" y="888"/>
                  </a:lnTo>
                  <a:lnTo>
                    <a:pt x="898" y="886"/>
                  </a:lnTo>
                  <a:lnTo>
                    <a:pt x="898" y="883"/>
                  </a:lnTo>
                  <a:lnTo>
                    <a:pt x="898" y="15"/>
                  </a:lnTo>
                  <a:lnTo>
                    <a:pt x="898" y="12"/>
                  </a:lnTo>
                  <a:lnTo>
                    <a:pt x="897" y="10"/>
                  </a:lnTo>
                  <a:lnTo>
                    <a:pt x="896" y="7"/>
                  </a:lnTo>
                  <a:lnTo>
                    <a:pt x="894" y="5"/>
                  </a:lnTo>
                  <a:lnTo>
                    <a:pt x="892" y="3"/>
                  </a:lnTo>
                  <a:lnTo>
                    <a:pt x="888" y="2"/>
                  </a:lnTo>
                  <a:lnTo>
                    <a:pt x="886" y="0"/>
                  </a:lnTo>
                  <a:lnTo>
                    <a:pt x="883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4460">
              <a:extLst>
                <a:ext uri="{FF2B5EF4-FFF2-40B4-BE49-F238E27FC236}">
                  <a16:creationId xmlns:a16="http://schemas.microsoft.com/office/drawing/2014/main" id="{EB1A2F5D-2DA8-447F-B507-77D56DFEDE0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10117" y="2556052"/>
              <a:ext cx="368163" cy="368163"/>
            </a:xfrm>
            <a:custGeom>
              <a:avLst/>
              <a:gdLst>
                <a:gd name="T0" fmla="*/ 371 w 718"/>
                <a:gd name="T1" fmla="*/ 473 h 718"/>
                <a:gd name="T2" fmla="*/ 359 w 718"/>
                <a:gd name="T3" fmla="*/ 478 h 718"/>
                <a:gd name="T4" fmla="*/ 346 w 718"/>
                <a:gd name="T5" fmla="*/ 473 h 718"/>
                <a:gd name="T6" fmla="*/ 344 w 718"/>
                <a:gd name="T7" fmla="*/ 371 h 718"/>
                <a:gd name="T8" fmla="*/ 353 w 718"/>
                <a:gd name="T9" fmla="*/ 361 h 718"/>
                <a:gd name="T10" fmla="*/ 381 w 718"/>
                <a:gd name="T11" fmla="*/ 356 h 718"/>
                <a:gd name="T12" fmla="*/ 412 w 718"/>
                <a:gd name="T13" fmla="*/ 337 h 718"/>
                <a:gd name="T14" fmla="*/ 430 w 718"/>
                <a:gd name="T15" fmla="*/ 307 h 718"/>
                <a:gd name="T16" fmla="*/ 432 w 718"/>
                <a:gd name="T17" fmla="*/ 270 h 718"/>
                <a:gd name="T18" fmla="*/ 417 w 718"/>
                <a:gd name="T19" fmla="*/ 238 h 718"/>
                <a:gd name="T20" fmla="*/ 388 w 718"/>
                <a:gd name="T21" fmla="*/ 215 h 718"/>
                <a:gd name="T22" fmla="*/ 352 w 718"/>
                <a:gd name="T23" fmla="*/ 210 h 718"/>
                <a:gd name="T24" fmla="*/ 318 w 718"/>
                <a:gd name="T25" fmla="*/ 223 h 718"/>
                <a:gd name="T26" fmla="*/ 293 w 718"/>
                <a:gd name="T27" fmla="*/ 249 h 718"/>
                <a:gd name="T28" fmla="*/ 284 w 718"/>
                <a:gd name="T29" fmla="*/ 285 h 718"/>
                <a:gd name="T30" fmla="*/ 278 w 718"/>
                <a:gd name="T31" fmla="*/ 298 h 718"/>
                <a:gd name="T32" fmla="*/ 263 w 718"/>
                <a:gd name="T33" fmla="*/ 299 h 718"/>
                <a:gd name="T34" fmla="*/ 254 w 718"/>
                <a:gd name="T35" fmla="*/ 288 h 718"/>
                <a:gd name="T36" fmla="*/ 263 w 718"/>
                <a:gd name="T37" fmla="*/ 244 h 718"/>
                <a:gd name="T38" fmla="*/ 292 w 718"/>
                <a:gd name="T39" fmla="*/ 205 h 718"/>
                <a:gd name="T40" fmla="*/ 338 w 718"/>
                <a:gd name="T41" fmla="*/ 182 h 718"/>
                <a:gd name="T42" fmla="*/ 390 w 718"/>
                <a:gd name="T43" fmla="*/ 184 h 718"/>
                <a:gd name="T44" fmla="*/ 433 w 718"/>
                <a:gd name="T45" fmla="*/ 211 h 718"/>
                <a:gd name="T46" fmla="*/ 459 w 718"/>
                <a:gd name="T47" fmla="*/ 254 h 718"/>
                <a:gd name="T48" fmla="*/ 462 w 718"/>
                <a:gd name="T49" fmla="*/ 304 h 718"/>
                <a:gd name="T50" fmla="*/ 444 w 718"/>
                <a:gd name="T51" fmla="*/ 347 h 718"/>
                <a:gd name="T52" fmla="*/ 410 w 718"/>
                <a:gd name="T53" fmla="*/ 377 h 718"/>
                <a:gd name="T54" fmla="*/ 359 w 718"/>
                <a:gd name="T55" fmla="*/ 576 h 718"/>
                <a:gd name="T56" fmla="*/ 328 w 718"/>
                <a:gd name="T57" fmla="*/ 560 h 718"/>
                <a:gd name="T58" fmla="*/ 324 w 718"/>
                <a:gd name="T59" fmla="*/ 524 h 718"/>
                <a:gd name="T60" fmla="*/ 352 w 718"/>
                <a:gd name="T61" fmla="*/ 502 h 718"/>
                <a:gd name="T62" fmla="*/ 385 w 718"/>
                <a:gd name="T63" fmla="*/ 513 h 718"/>
                <a:gd name="T64" fmla="*/ 396 w 718"/>
                <a:gd name="T65" fmla="*/ 546 h 718"/>
                <a:gd name="T66" fmla="*/ 373 w 718"/>
                <a:gd name="T67" fmla="*/ 574 h 718"/>
                <a:gd name="T68" fmla="*/ 322 w 718"/>
                <a:gd name="T69" fmla="*/ 2 h 718"/>
                <a:gd name="T70" fmla="*/ 235 w 718"/>
                <a:gd name="T71" fmla="*/ 23 h 718"/>
                <a:gd name="T72" fmla="*/ 158 w 718"/>
                <a:gd name="T73" fmla="*/ 62 h 718"/>
                <a:gd name="T74" fmla="*/ 93 w 718"/>
                <a:gd name="T75" fmla="*/ 118 h 718"/>
                <a:gd name="T76" fmla="*/ 44 w 718"/>
                <a:gd name="T77" fmla="*/ 188 h 718"/>
                <a:gd name="T78" fmla="*/ 11 w 718"/>
                <a:gd name="T79" fmla="*/ 270 h 718"/>
                <a:gd name="T80" fmla="*/ 0 w 718"/>
                <a:gd name="T81" fmla="*/ 360 h 718"/>
                <a:gd name="T82" fmla="*/ 11 w 718"/>
                <a:gd name="T83" fmla="*/ 450 h 718"/>
                <a:gd name="T84" fmla="*/ 44 w 718"/>
                <a:gd name="T85" fmla="*/ 531 h 718"/>
                <a:gd name="T86" fmla="*/ 93 w 718"/>
                <a:gd name="T87" fmla="*/ 600 h 718"/>
                <a:gd name="T88" fmla="*/ 158 w 718"/>
                <a:gd name="T89" fmla="*/ 657 h 718"/>
                <a:gd name="T90" fmla="*/ 235 w 718"/>
                <a:gd name="T91" fmla="*/ 697 h 718"/>
                <a:gd name="T92" fmla="*/ 322 w 718"/>
                <a:gd name="T93" fmla="*/ 716 h 718"/>
                <a:gd name="T94" fmla="*/ 414 w 718"/>
                <a:gd name="T95" fmla="*/ 714 h 718"/>
                <a:gd name="T96" fmla="*/ 498 w 718"/>
                <a:gd name="T97" fmla="*/ 690 h 718"/>
                <a:gd name="T98" fmla="*/ 573 w 718"/>
                <a:gd name="T99" fmla="*/ 647 h 718"/>
                <a:gd name="T100" fmla="*/ 635 w 718"/>
                <a:gd name="T101" fmla="*/ 588 h 718"/>
                <a:gd name="T102" fmla="*/ 682 w 718"/>
                <a:gd name="T103" fmla="*/ 515 h 718"/>
                <a:gd name="T104" fmla="*/ 710 w 718"/>
                <a:gd name="T105" fmla="*/ 431 h 718"/>
                <a:gd name="T106" fmla="*/ 718 w 718"/>
                <a:gd name="T107" fmla="*/ 340 h 718"/>
                <a:gd name="T108" fmla="*/ 702 w 718"/>
                <a:gd name="T109" fmla="*/ 253 h 718"/>
                <a:gd name="T110" fmla="*/ 665 w 718"/>
                <a:gd name="T111" fmla="*/ 174 h 718"/>
                <a:gd name="T112" fmla="*/ 613 w 718"/>
                <a:gd name="T113" fmla="*/ 106 h 718"/>
                <a:gd name="T114" fmla="*/ 544 w 718"/>
                <a:gd name="T115" fmla="*/ 53 h 718"/>
                <a:gd name="T116" fmla="*/ 465 w 718"/>
                <a:gd name="T117" fmla="*/ 16 h 718"/>
                <a:gd name="T118" fmla="*/ 377 w 718"/>
                <a:gd name="T119" fmla="*/ 1 h 7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18" h="718">
                  <a:moveTo>
                    <a:pt x="374" y="390"/>
                  </a:moveTo>
                  <a:lnTo>
                    <a:pt x="374" y="463"/>
                  </a:lnTo>
                  <a:lnTo>
                    <a:pt x="373" y="467"/>
                  </a:lnTo>
                  <a:lnTo>
                    <a:pt x="373" y="470"/>
                  </a:lnTo>
                  <a:lnTo>
                    <a:pt x="371" y="473"/>
                  </a:lnTo>
                  <a:lnTo>
                    <a:pt x="370" y="475"/>
                  </a:lnTo>
                  <a:lnTo>
                    <a:pt x="367" y="476"/>
                  </a:lnTo>
                  <a:lnTo>
                    <a:pt x="365" y="477"/>
                  </a:lnTo>
                  <a:lnTo>
                    <a:pt x="361" y="478"/>
                  </a:lnTo>
                  <a:lnTo>
                    <a:pt x="359" y="478"/>
                  </a:lnTo>
                  <a:lnTo>
                    <a:pt x="356" y="478"/>
                  </a:lnTo>
                  <a:lnTo>
                    <a:pt x="353" y="477"/>
                  </a:lnTo>
                  <a:lnTo>
                    <a:pt x="351" y="476"/>
                  </a:lnTo>
                  <a:lnTo>
                    <a:pt x="349" y="475"/>
                  </a:lnTo>
                  <a:lnTo>
                    <a:pt x="346" y="473"/>
                  </a:lnTo>
                  <a:lnTo>
                    <a:pt x="345" y="470"/>
                  </a:lnTo>
                  <a:lnTo>
                    <a:pt x="344" y="467"/>
                  </a:lnTo>
                  <a:lnTo>
                    <a:pt x="344" y="463"/>
                  </a:lnTo>
                  <a:lnTo>
                    <a:pt x="344" y="375"/>
                  </a:lnTo>
                  <a:lnTo>
                    <a:pt x="344" y="371"/>
                  </a:lnTo>
                  <a:lnTo>
                    <a:pt x="345" y="368"/>
                  </a:lnTo>
                  <a:lnTo>
                    <a:pt x="346" y="366"/>
                  </a:lnTo>
                  <a:lnTo>
                    <a:pt x="349" y="364"/>
                  </a:lnTo>
                  <a:lnTo>
                    <a:pt x="351" y="362"/>
                  </a:lnTo>
                  <a:lnTo>
                    <a:pt x="353" y="361"/>
                  </a:lnTo>
                  <a:lnTo>
                    <a:pt x="356" y="360"/>
                  </a:lnTo>
                  <a:lnTo>
                    <a:pt x="359" y="360"/>
                  </a:lnTo>
                  <a:lnTo>
                    <a:pt x="367" y="359"/>
                  </a:lnTo>
                  <a:lnTo>
                    <a:pt x="374" y="358"/>
                  </a:lnTo>
                  <a:lnTo>
                    <a:pt x="381" y="356"/>
                  </a:lnTo>
                  <a:lnTo>
                    <a:pt x="388" y="353"/>
                  </a:lnTo>
                  <a:lnTo>
                    <a:pt x="395" y="350"/>
                  </a:lnTo>
                  <a:lnTo>
                    <a:pt x="401" y="347"/>
                  </a:lnTo>
                  <a:lnTo>
                    <a:pt x="406" y="343"/>
                  </a:lnTo>
                  <a:lnTo>
                    <a:pt x="412" y="337"/>
                  </a:lnTo>
                  <a:lnTo>
                    <a:pt x="417" y="332"/>
                  </a:lnTo>
                  <a:lnTo>
                    <a:pt x="421" y="327"/>
                  </a:lnTo>
                  <a:lnTo>
                    <a:pt x="425" y="320"/>
                  </a:lnTo>
                  <a:lnTo>
                    <a:pt x="428" y="314"/>
                  </a:lnTo>
                  <a:lnTo>
                    <a:pt x="430" y="307"/>
                  </a:lnTo>
                  <a:lnTo>
                    <a:pt x="432" y="300"/>
                  </a:lnTo>
                  <a:lnTo>
                    <a:pt x="433" y="292"/>
                  </a:lnTo>
                  <a:lnTo>
                    <a:pt x="434" y="285"/>
                  </a:lnTo>
                  <a:lnTo>
                    <a:pt x="433" y="277"/>
                  </a:lnTo>
                  <a:lnTo>
                    <a:pt x="432" y="270"/>
                  </a:lnTo>
                  <a:lnTo>
                    <a:pt x="430" y="262"/>
                  </a:lnTo>
                  <a:lnTo>
                    <a:pt x="428" y="256"/>
                  </a:lnTo>
                  <a:lnTo>
                    <a:pt x="425" y="249"/>
                  </a:lnTo>
                  <a:lnTo>
                    <a:pt x="421" y="243"/>
                  </a:lnTo>
                  <a:lnTo>
                    <a:pt x="417" y="238"/>
                  </a:lnTo>
                  <a:lnTo>
                    <a:pt x="412" y="232"/>
                  </a:lnTo>
                  <a:lnTo>
                    <a:pt x="406" y="227"/>
                  </a:lnTo>
                  <a:lnTo>
                    <a:pt x="401" y="223"/>
                  </a:lnTo>
                  <a:lnTo>
                    <a:pt x="395" y="218"/>
                  </a:lnTo>
                  <a:lnTo>
                    <a:pt x="388" y="215"/>
                  </a:lnTo>
                  <a:lnTo>
                    <a:pt x="381" y="213"/>
                  </a:lnTo>
                  <a:lnTo>
                    <a:pt x="374" y="211"/>
                  </a:lnTo>
                  <a:lnTo>
                    <a:pt x="367" y="210"/>
                  </a:lnTo>
                  <a:lnTo>
                    <a:pt x="359" y="210"/>
                  </a:lnTo>
                  <a:lnTo>
                    <a:pt x="352" y="210"/>
                  </a:lnTo>
                  <a:lnTo>
                    <a:pt x="344" y="211"/>
                  </a:lnTo>
                  <a:lnTo>
                    <a:pt x="337" y="213"/>
                  </a:lnTo>
                  <a:lnTo>
                    <a:pt x="329" y="215"/>
                  </a:lnTo>
                  <a:lnTo>
                    <a:pt x="323" y="218"/>
                  </a:lnTo>
                  <a:lnTo>
                    <a:pt x="318" y="223"/>
                  </a:lnTo>
                  <a:lnTo>
                    <a:pt x="311" y="227"/>
                  </a:lnTo>
                  <a:lnTo>
                    <a:pt x="306" y="232"/>
                  </a:lnTo>
                  <a:lnTo>
                    <a:pt x="301" y="238"/>
                  </a:lnTo>
                  <a:lnTo>
                    <a:pt x="297" y="243"/>
                  </a:lnTo>
                  <a:lnTo>
                    <a:pt x="293" y="249"/>
                  </a:lnTo>
                  <a:lnTo>
                    <a:pt x="290" y="256"/>
                  </a:lnTo>
                  <a:lnTo>
                    <a:pt x="288" y="262"/>
                  </a:lnTo>
                  <a:lnTo>
                    <a:pt x="285" y="270"/>
                  </a:lnTo>
                  <a:lnTo>
                    <a:pt x="284" y="277"/>
                  </a:lnTo>
                  <a:lnTo>
                    <a:pt x="284" y="285"/>
                  </a:lnTo>
                  <a:lnTo>
                    <a:pt x="283" y="288"/>
                  </a:lnTo>
                  <a:lnTo>
                    <a:pt x="283" y="290"/>
                  </a:lnTo>
                  <a:lnTo>
                    <a:pt x="281" y="293"/>
                  </a:lnTo>
                  <a:lnTo>
                    <a:pt x="280" y="295"/>
                  </a:lnTo>
                  <a:lnTo>
                    <a:pt x="278" y="298"/>
                  </a:lnTo>
                  <a:lnTo>
                    <a:pt x="275" y="299"/>
                  </a:lnTo>
                  <a:lnTo>
                    <a:pt x="273" y="299"/>
                  </a:lnTo>
                  <a:lnTo>
                    <a:pt x="269" y="300"/>
                  </a:lnTo>
                  <a:lnTo>
                    <a:pt x="266" y="299"/>
                  </a:lnTo>
                  <a:lnTo>
                    <a:pt x="263" y="299"/>
                  </a:lnTo>
                  <a:lnTo>
                    <a:pt x="261" y="298"/>
                  </a:lnTo>
                  <a:lnTo>
                    <a:pt x="259" y="295"/>
                  </a:lnTo>
                  <a:lnTo>
                    <a:pt x="257" y="293"/>
                  </a:lnTo>
                  <a:lnTo>
                    <a:pt x="255" y="290"/>
                  </a:lnTo>
                  <a:lnTo>
                    <a:pt x="254" y="288"/>
                  </a:lnTo>
                  <a:lnTo>
                    <a:pt x="254" y="285"/>
                  </a:lnTo>
                  <a:lnTo>
                    <a:pt x="254" y="274"/>
                  </a:lnTo>
                  <a:lnTo>
                    <a:pt x="257" y="263"/>
                  </a:lnTo>
                  <a:lnTo>
                    <a:pt x="259" y="254"/>
                  </a:lnTo>
                  <a:lnTo>
                    <a:pt x="263" y="244"/>
                  </a:lnTo>
                  <a:lnTo>
                    <a:pt x="267" y="236"/>
                  </a:lnTo>
                  <a:lnTo>
                    <a:pt x="273" y="226"/>
                  </a:lnTo>
                  <a:lnTo>
                    <a:pt x="278" y="218"/>
                  </a:lnTo>
                  <a:lnTo>
                    <a:pt x="285" y="211"/>
                  </a:lnTo>
                  <a:lnTo>
                    <a:pt x="292" y="205"/>
                  </a:lnTo>
                  <a:lnTo>
                    <a:pt x="300" y="198"/>
                  </a:lnTo>
                  <a:lnTo>
                    <a:pt x="309" y="193"/>
                  </a:lnTo>
                  <a:lnTo>
                    <a:pt x="319" y="188"/>
                  </a:lnTo>
                  <a:lnTo>
                    <a:pt x="328" y="184"/>
                  </a:lnTo>
                  <a:lnTo>
                    <a:pt x="338" y="182"/>
                  </a:lnTo>
                  <a:lnTo>
                    <a:pt x="349" y="180"/>
                  </a:lnTo>
                  <a:lnTo>
                    <a:pt x="359" y="180"/>
                  </a:lnTo>
                  <a:lnTo>
                    <a:pt x="370" y="180"/>
                  </a:lnTo>
                  <a:lnTo>
                    <a:pt x="380" y="182"/>
                  </a:lnTo>
                  <a:lnTo>
                    <a:pt x="390" y="184"/>
                  </a:lnTo>
                  <a:lnTo>
                    <a:pt x="400" y="188"/>
                  </a:lnTo>
                  <a:lnTo>
                    <a:pt x="408" y="193"/>
                  </a:lnTo>
                  <a:lnTo>
                    <a:pt x="417" y="198"/>
                  </a:lnTo>
                  <a:lnTo>
                    <a:pt x="426" y="205"/>
                  </a:lnTo>
                  <a:lnTo>
                    <a:pt x="433" y="211"/>
                  </a:lnTo>
                  <a:lnTo>
                    <a:pt x="439" y="218"/>
                  </a:lnTo>
                  <a:lnTo>
                    <a:pt x="446" y="226"/>
                  </a:lnTo>
                  <a:lnTo>
                    <a:pt x="451" y="236"/>
                  </a:lnTo>
                  <a:lnTo>
                    <a:pt x="456" y="244"/>
                  </a:lnTo>
                  <a:lnTo>
                    <a:pt x="459" y="254"/>
                  </a:lnTo>
                  <a:lnTo>
                    <a:pt x="461" y="263"/>
                  </a:lnTo>
                  <a:lnTo>
                    <a:pt x="463" y="274"/>
                  </a:lnTo>
                  <a:lnTo>
                    <a:pt x="463" y="285"/>
                  </a:lnTo>
                  <a:lnTo>
                    <a:pt x="463" y="294"/>
                  </a:lnTo>
                  <a:lnTo>
                    <a:pt x="462" y="304"/>
                  </a:lnTo>
                  <a:lnTo>
                    <a:pt x="460" y="314"/>
                  </a:lnTo>
                  <a:lnTo>
                    <a:pt x="457" y="322"/>
                  </a:lnTo>
                  <a:lnTo>
                    <a:pt x="453" y="331"/>
                  </a:lnTo>
                  <a:lnTo>
                    <a:pt x="448" y="339"/>
                  </a:lnTo>
                  <a:lnTo>
                    <a:pt x="444" y="347"/>
                  </a:lnTo>
                  <a:lnTo>
                    <a:pt x="437" y="354"/>
                  </a:lnTo>
                  <a:lnTo>
                    <a:pt x="431" y="361"/>
                  </a:lnTo>
                  <a:lnTo>
                    <a:pt x="425" y="367"/>
                  </a:lnTo>
                  <a:lnTo>
                    <a:pt x="417" y="373"/>
                  </a:lnTo>
                  <a:lnTo>
                    <a:pt x="410" y="377"/>
                  </a:lnTo>
                  <a:lnTo>
                    <a:pt x="401" y="381"/>
                  </a:lnTo>
                  <a:lnTo>
                    <a:pt x="392" y="384"/>
                  </a:lnTo>
                  <a:lnTo>
                    <a:pt x="383" y="387"/>
                  </a:lnTo>
                  <a:lnTo>
                    <a:pt x="374" y="390"/>
                  </a:lnTo>
                  <a:close/>
                  <a:moveTo>
                    <a:pt x="359" y="576"/>
                  </a:moveTo>
                  <a:lnTo>
                    <a:pt x="352" y="576"/>
                  </a:lnTo>
                  <a:lnTo>
                    <a:pt x="344" y="574"/>
                  </a:lnTo>
                  <a:lnTo>
                    <a:pt x="338" y="569"/>
                  </a:lnTo>
                  <a:lnTo>
                    <a:pt x="332" y="565"/>
                  </a:lnTo>
                  <a:lnTo>
                    <a:pt x="328" y="560"/>
                  </a:lnTo>
                  <a:lnTo>
                    <a:pt x="324" y="553"/>
                  </a:lnTo>
                  <a:lnTo>
                    <a:pt x="322" y="546"/>
                  </a:lnTo>
                  <a:lnTo>
                    <a:pt x="322" y="538"/>
                  </a:lnTo>
                  <a:lnTo>
                    <a:pt x="322" y="532"/>
                  </a:lnTo>
                  <a:lnTo>
                    <a:pt x="324" y="524"/>
                  </a:lnTo>
                  <a:lnTo>
                    <a:pt x="328" y="518"/>
                  </a:lnTo>
                  <a:lnTo>
                    <a:pt x="332" y="513"/>
                  </a:lnTo>
                  <a:lnTo>
                    <a:pt x="338" y="508"/>
                  </a:lnTo>
                  <a:lnTo>
                    <a:pt x="344" y="504"/>
                  </a:lnTo>
                  <a:lnTo>
                    <a:pt x="352" y="502"/>
                  </a:lnTo>
                  <a:lnTo>
                    <a:pt x="359" y="501"/>
                  </a:lnTo>
                  <a:lnTo>
                    <a:pt x="367" y="502"/>
                  </a:lnTo>
                  <a:lnTo>
                    <a:pt x="373" y="504"/>
                  </a:lnTo>
                  <a:lnTo>
                    <a:pt x="380" y="508"/>
                  </a:lnTo>
                  <a:lnTo>
                    <a:pt x="385" y="513"/>
                  </a:lnTo>
                  <a:lnTo>
                    <a:pt x="390" y="518"/>
                  </a:lnTo>
                  <a:lnTo>
                    <a:pt x="393" y="524"/>
                  </a:lnTo>
                  <a:lnTo>
                    <a:pt x="396" y="532"/>
                  </a:lnTo>
                  <a:lnTo>
                    <a:pt x="397" y="538"/>
                  </a:lnTo>
                  <a:lnTo>
                    <a:pt x="396" y="546"/>
                  </a:lnTo>
                  <a:lnTo>
                    <a:pt x="393" y="553"/>
                  </a:lnTo>
                  <a:lnTo>
                    <a:pt x="390" y="560"/>
                  </a:lnTo>
                  <a:lnTo>
                    <a:pt x="385" y="565"/>
                  </a:lnTo>
                  <a:lnTo>
                    <a:pt x="380" y="569"/>
                  </a:lnTo>
                  <a:lnTo>
                    <a:pt x="373" y="574"/>
                  </a:lnTo>
                  <a:lnTo>
                    <a:pt x="367" y="576"/>
                  </a:lnTo>
                  <a:lnTo>
                    <a:pt x="359" y="576"/>
                  </a:lnTo>
                  <a:close/>
                  <a:moveTo>
                    <a:pt x="359" y="0"/>
                  </a:moveTo>
                  <a:lnTo>
                    <a:pt x="340" y="1"/>
                  </a:lnTo>
                  <a:lnTo>
                    <a:pt x="322" y="2"/>
                  </a:lnTo>
                  <a:lnTo>
                    <a:pt x="305" y="4"/>
                  </a:lnTo>
                  <a:lnTo>
                    <a:pt x="286" y="8"/>
                  </a:lnTo>
                  <a:lnTo>
                    <a:pt x="269" y="12"/>
                  </a:lnTo>
                  <a:lnTo>
                    <a:pt x="252" y="16"/>
                  </a:lnTo>
                  <a:lnTo>
                    <a:pt x="235" y="23"/>
                  </a:lnTo>
                  <a:lnTo>
                    <a:pt x="219" y="29"/>
                  </a:lnTo>
                  <a:lnTo>
                    <a:pt x="203" y="36"/>
                  </a:lnTo>
                  <a:lnTo>
                    <a:pt x="188" y="44"/>
                  </a:lnTo>
                  <a:lnTo>
                    <a:pt x="173" y="53"/>
                  </a:lnTo>
                  <a:lnTo>
                    <a:pt x="158" y="62"/>
                  </a:lnTo>
                  <a:lnTo>
                    <a:pt x="144" y="72"/>
                  </a:lnTo>
                  <a:lnTo>
                    <a:pt x="130" y="83"/>
                  </a:lnTo>
                  <a:lnTo>
                    <a:pt x="117" y="94"/>
                  </a:lnTo>
                  <a:lnTo>
                    <a:pt x="106" y="106"/>
                  </a:lnTo>
                  <a:lnTo>
                    <a:pt x="93" y="118"/>
                  </a:lnTo>
                  <a:lnTo>
                    <a:pt x="82" y="132"/>
                  </a:lnTo>
                  <a:lnTo>
                    <a:pt x="71" y="145"/>
                  </a:lnTo>
                  <a:lnTo>
                    <a:pt x="62" y="159"/>
                  </a:lnTo>
                  <a:lnTo>
                    <a:pt x="52" y="174"/>
                  </a:lnTo>
                  <a:lnTo>
                    <a:pt x="44" y="188"/>
                  </a:lnTo>
                  <a:lnTo>
                    <a:pt x="35" y="205"/>
                  </a:lnTo>
                  <a:lnTo>
                    <a:pt x="29" y="220"/>
                  </a:lnTo>
                  <a:lnTo>
                    <a:pt x="22" y="237"/>
                  </a:lnTo>
                  <a:lnTo>
                    <a:pt x="16" y="253"/>
                  </a:lnTo>
                  <a:lnTo>
                    <a:pt x="11" y="270"/>
                  </a:lnTo>
                  <a:lnTo>
                    <a:pt x="7" y="287"/>
                  </a:lnTo>
                  <a:lnTo>
                    <a:pt x="4" y="305"/>
                  </a:lnTo>
                  <a:lnTo>
                    <a:pt x="2" y="322"/>
                  </a:lnTo>
                  <a:lnTo>
                    <a:pt x="1" y="340"/>
                  </a:lnTo>
                  <a:lnTo>
                    <a:pt x="0" y="360"/>
                  </a:lnTo>
                  <a:lnTo>
                    <a:pt x="1" y="378"/>
                  </a:lnTo>
                  <a:lnTo>
                    <a:pt x="2" y="396"/>
                  </a:lnTo>
                  <a:lnTo>
                    <a:pt x="4" y="414"/>
                  </a:lnTo>
                  <a:lnTo>
                    <a:pt x="7" y="431"/>
                  </a:lnTo>
                  <a:lnTo>
                    <a:pt x="11" y="450"/>
                  </a:lnTo>
                  <a:lnTo>
                    <a:pt x="16" y="467"/>
                  </a:lnTo>
                  <a:lnTo>
                    <a:pt x="22" y="483"/>
                  </a:lnTo>
                  <a:lnTo>
                    <a:pt x="29" y="499"/>
                  </a:lnTo>
                  <a:lnTo>
                    <a:pt x="35" y="515"/>
                  </a:lnTo>
                  <a:lnTo>
                    <a:pt x="44" y="531"/>
                  </a:lnTo>
                  <a:lnTo>
                    <a:pt x="52" y="546"/>
                  </a:lnTo>
                  <a:lnTo>
                    <a:pt x="62" y="560"/>
                  </a:lnTo>
                  <a:lnTo>
                    <a:pt x="71" y="575"/>
                  </a:lnTo>
                  <a:lnTo>
                    <a:pt x="82" y="588"/>
                  </a:lnTo>
                  <a:lnTo>
                    <a:pt x="93" y="600"/>
                  </a:lnTo>
                  <a:lnTo>
                    <a:pt x="106" y="613"/>
                  </a:lnTo>
                  <a:lnTo>
                    <a:pt x="117" y="625"/>
                  </a:lnTo>
                  <a:lnTo>
                    <a:pt x="130" y="637"/>
                  </a:lnTo>
                  <a:lnTo>
                    <a:pt x="144" y="647"/>
                  </a:lnTo>
                  <a:lnTo>
                    <a:pt x="158" y="657"/>
                  </a:lnTo>
                  <a:lnTo>
                    <a:pt x="173" y="667"/>
                  </a:lnTo>
                  <a:lnTo>
                    <a:pt x="188" y="675"/>
                  </a:lnTo>
                  <a:lnTo>
                    <a:pt x="203" y="683"/>
                  </a:lnTo>
                  <a:lnTo>
                    <a:pt x="219" y="690"/>
                  </a:lnTo>
                  <a:lnTo>
                    <a:pt x="235" y="697"/>
                  </a:lnTo>
                  <a:lnTo>
                    <a:pt x="252" y="702"/>
                  </a:lnTo>
                  <a:lnTo>
                    <a:pt x="269" y="707"/>
                  </a:lnTo>
                  <a:lnTo>
                    <a:pt x="286" y="711"/>
                  </a:lnTo>
                  <a:lnTo>
                    <a:pt x="305" y="714"/>
                  </a:lnTo>
                  <a:lnTo>
                    <a:pt x="322" y="716"/>
                  </a:lnTo>
                  <a:lnTo>
                    <a:pt x="340" y="718"/>
                  </a:lnTo>
                  <a:lnTo>
                    <a:pt x="359" y="718"/>
                  </a:lnTo>
                  <a:lnTo>
                    <a:pt x="377" y="718"/>
                  </a:lnTo>
                  <a:lnTo>
                    <a:pt x="396" y="716"/>
                  </a:lnTo>
                  <a:lnTo>
                    <a:pt x="414" y="714"/>
                  </a:lnTo>
                  <a:lnTo>
                    <a:pt x="431" y="711"/>
                  </a:lnTo>
                  <a:lnTo>
                    <a:pt x="448" y="707"/>
                  </a:lnTo>
                  <a:lnTo>
                    <a:pt x="465" y="702"/>
                  </a:lnTo>
                  <a:lnTo>
                    <a:pt x="482" y="697"/>
                  </a:lnTo>
                  <a:lnTo>
                    <a:pt x="498" y="690"/>
                  </a:lnTo>
                  <a:lnTo>
                    <a:pt x="514" y="683"/>
                  </a:lnTo>
                  <a:lnTo>
                    <a:pt x="529" y="675"/>
                  </a:lnTo>
                  <a:lnTo>
                    <a:pt x="544" y="667"/>
                  </a:lnTo>
                  <a:lnTo>
                    <a:pt x="559" y="657"/>
                  </a:lnTo>
                  <a:lnTo>
                    <a:pt x="573" y="647"/>
                  </a:lnTo>
                  <a:lnTo>
                    <a:pt x="587" y="637"/>
                  </a:lnTo>
                  <a:lnTo>
                    <a:pt x="600" y="625"/>
                  </a:lnTo>
                  <a:lnTo>
                    <a:pt x="613" y="613"/>
                  </a:lnTo>
                  <a:lnTo>
                    <a:pt x="625" y="600"/>
                  </a:lnTo>
                  <a:lnTo>
                    <a:pt x="635" y="588"/>
                  </a:lnTo>
                  <a:lnTo>
                    <a:pt x="646" y="575"/>
                  </a:lnTo>
                  <a:lnTo>
                    <a:pt x="657" y="560"/>
                  </a:lnTo>
                  <a:lnTo>
                    <a:pt x="665" y="546"/>
                  </a:lnTo>
                  <a:lnTo>
                    <a:pt x="675" y="531"/>
                  </a:lnTo>
                  <a:lnTo>
                    <a:pt x="682" y="515"/>
                  </a:lnTo>
                  <a:lnTo>
                    <a:pt x="690" y="499"/>
                  </a:lnTo>
                  <a:lnTo>
                    <a:pt x="696" y="483"/>
                  </a:lnTo>
                  <a:lnTo>
                    <a:pt x="702" y="467"/>
                  </a:lnTo>
                  <a:lnTo>
                    <a:pt x="707" y="450"/>
                  </a:lnTo>
                  <a:lnTo>
                    <a:pt x="710" y="431"/>
                  </a:lnTo>
                  <a:lnTo>
                    <a:pt x="713" y="414"/>
                  </a:lnTo>
                  <a:lnTo>
                    <a:pt x="716" y="396"/>
                  </a:lnTo>
                  <a:lnTo>
                    <a:pt x="718" y="378"/>
                  </a:lnTo>
                  <a:lnTo>
                    <a:pt x="718" y="360"/>
                  </a:lnTo>
                  <a:lnTo>
                    <a:pt x="718" y="340"/>
                  </a:lnTo>
                  <a:lnTo>
                    <a:pt x="716" y="322"/>
                  </a:lnTo>
                  <a:lnTo>
                    <a:pt x="713" y="305"/>
                  </a:lnTo>
                  <a:lnTo>
                    <a:pt x="710" y="287"/>
                  </a:lnTo>
                  <a:lnTo>
                    <a:pt x="707" y="270"/>
                  </a:lnTo>
                  <a:lnTo>
                    <a:pt x="702" y="253"/>
                  </a:lnTo>
                  <a:lnTo>
                    <a:pt x="696" y="237"/>
                  </a:lnTo>
                  <a:lnTo>
                    <a:pt x="690" y="220"/>
                  </a:lnTo>
                  <a:lnTo>
                    <a:pt x="682" y="205"/>
                  </a:lnTo>
                  <a:lnTo>
                    <a:pt x="675" y="188"/>
                  </a:lnTo>
                  <a:lnTo>
                    <a:pt x="665" y="174"/>
                  </a:lnTo>
                  <a:lnTo>
                    <a:pt x="657" y="159"/>
                  </a:lnTo>
                  <a:lnTo>
                    <a:pt x="646" y="145"/>
                  </a:lnTo>
                  <a:lnTo>
                    <a:pt x="635" y="132"/>
                  </a:lnTo>
                  <a:lnTo>
                    <a:pt x="625" y="118"/>
                  </a:lnTo>
                  <a:lnTo>
                    <a:pt x="613" y="106"/>
                  </a:lnTo>
                  <a:lnTo>
                    <a:pt x="600" y="94"/>
                  </a:lnTo>
                  <a:lnTo>
                    <a:pt x="587" y="83"/>
                  </a:lnTo>
                  <a:lnTo>
                    <a:pt x="573" y="72"/>
                  </a:lnTo>
                  <a:lnTo>
                    <a:pt x="559" y="62"/>
                  </a:lnTo>
                  <a:lnTo>
                    <a:pt x="544" y="53"/>
                  </a:lnTo>
                  <a:lnTo>
                    <a:pt x="529" y="44"/>
                  </a:lnTo>
                  <a:lnTo>
                    <a:pt x="514" y="36"/>
                  </a:lnTo>
                  <a:lnTo>
                    <a:pt x="498" y="29"/>
                  </a:lnTo>
                  <a:lnTo>
                    <a:pt x="482" y="23"/>
                  </a:lnTo>
                  <a:lnTo>
                    <a:pt x="465" y="16"/>
                  </a:lnTo>
                  <a:lnTo>
                    <a:pt x="448" y="12"/>
                  </a:lnTo>
                  <a:lnTo>
                    <a:pt x="431" y="8"/>
                  </a:lnTo>
                  <a:lnTo>
                    <a:pt x="414" y="4"/>
                  </a:lnTo>
                  <a:lnTo>
                    <a:pt x="396" y="2"/>
                  </a:lnTo>
                  <a:lnTo>
                    <a:pt x="377" y="1"/>
                  </a:lnTo>
                  <a:lnTo>
                    <a:pt x="359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4197">
              <a:extLst>
                <a:ext uri="{FF2B5EF4-FFF2-40B4-BE49-F238E27FC236}">
                  <a16:creationId xmlns:a16="http://schemas.microsoft.com/office/drawing/2014/main" id="{B19B7F18-3B6E-465C-A21A-40C675E47BB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83625" y="3048815"/>
              <a:ext cx="585946" cy="537118"/>
            </a:xfrm>
            <a:custGeom>
              <a:avLst/>
              <a:gdLst>
                <a:gd name="T0" fmla="*/ 540 w 901"/>
                <a:gd name="T1" fmla="*/ 161 h 826"/>
                <a:gd name="T2" fmla="*/ 360 w 901"/>
                <a:gd name="T3" fmla="*/ 255 h 826"/>
                <a:gd name="T4" fmla="*/ 360 w 901"/>
                <a:gd name="T5" fmla="*/ 255 h 826"/>
                <a:gd name="T6" fmla="*/ 201 w 901"/>
                <a:gd name="T7" fmla="*/ 255 h 826"/>
                <a:gd name="T8" fmla="*/ 749 w 901"/>
                <a:gd name="T9" fmla="*/ 46 h 826"/>
                <a:gd name="T10" fmla="*/ 692 w 901"/>
                <a:gd name="T11" fmla="*/ 248 h 826"/>
                <a:gd name="T12" fmla="*/ 568 w 901"/>
                <a:gd name="T13" fmla="*/ 103 h 826"/>
                <a:gd name="T14" fmla="*/ 556 w 901"/>
                <a:gd name="T15" fmla="*/ 104 h 826"/>
                <a:gd name="T16" fmla="*/ 341 w 901"/>
                <a:gd name="T17" fmla="*/ 135 h 826"/>
                <a:gd name="T18" fmla="*/ 333 w 901"/>
                <a:gd name="T19" fmla="*/ 141 h 826"/>
                <a:gd name="T20" fmla="*/ 330 w 901"/>
                <a:gd name="T21" fmla="*/ 255 h 826"/>
                <a:gd name="T22" fmla="*/ 120 w 901"/>
                <a:gd name="T23" fmla="*/ 4 h 826"/>
                <a:gd name="T24" fmla="*/ 109 w 901"/>
                <a:gd name="T25" fmla="*/ 0 h 826"/>
                <a:gd name="T26" fmla="*/ 5 w 901"/>
                <a:gd name="T27" fmla="*/ 48 h 826"/>
                <a:gd name="T28" fmla="*/ 0 w 901"/>
                <a:gd name="T29" fmla="*/ 58 h 826"/>
                <a:gd name="T30" fmla="*/ 82 w 901"/>
                <a:gd name="T31" fmla="*/ 255 h 826"/>
                <a:gd name="T32" fmla="*/ 5 w 901"/>
                <a:gd name="T33" fmla="*/ 259 h 826"/>
                <a:gd name="T34" fmla="*/ 0 w 901"/>
                <a:gd name="T35" fmla="*/ 271 h 826"/>
                <a:gd name="T36" fmla="*/ 120 w 901"/>
                <a:gd name="T37" fmla="*/ 643 h 826"/>
                <a:gd name="T38" fmla="*/ 589 w 901"/>
                <a:gd name="T39" fmla="*/ 676 h 826"/>
                <a:gd name="T40" fmla="*/ 157 w 901"/>
                <a:gd name="T41" fmla="*/ 679 h 826"/>
                <a:gd name="T42" fmla="*/ 131 w 901"/>
                <a:gd name="T43" fmla="*/ 693 h 826"/>
                <a:gd name="T44" fmla="*/ 113 w 901"/>
                <a:gd name="T45" fmla="*/ 716 h 826"/>
                <a:gd name="T46" fmla="*/ 105 w 901"/>
                <a:gd name="T47" fmla="*/ 744 h 826"/>
                <a:gd name="T48" fmla="*/ 108 w 901"/>
                <a:gd name="T49" fmla="*/ 774 h 826"/>
                <a:gd name="T50" fmla="*/ 122 w 901"/>
                <a:gd name="T51" fmla="*/ 798 h 826"/>
                <a:gd name="T52" fmla="*/ 144 w 901"/>
                <a:gd name="T53" fmla="*/ 818 h 826"/>
                <a:gd name="T54" fmla="*/ 172 w 901"/>
                <a:gd name="T55" fmla="*/ 826 h 826"/>
                <a:gd name="T56" fmla="*/ 202 w 901"/>
                <a:gd name="T57" fmla="*/ 823 h 826"/>
                <a:gd name="T58" fmla="*/ 228 w 901"/>
                <a:gd name="T59" fmla="*/ 809 h 826"/>
                <a:gd name="T60" fmla="*/ 246 w 901"/>
                <a:gd name="T61" fmla="*/ 787 h 826"/>
                <a:gd name="T62" fmla="*/ 255 w 901"/>
                <a:gd name="T63" fmla="*/ 759 h 826"/>
                <a:gd name="T64" fmla="*/ 246 w 901"/>
                <a:gd name="T65" fmla="*/ 716 h 826"/>
                <a:gd name="T66" fmla="*/ 514 w 901"/>
                <a:gd name="T67" fmla="*/ 727 h 826"/>
                <a:gd name="T68" fmla="*/ 512 w 901"/>
                <a:gd name="T69" fmla="*/ 766 h 826"/>
                <a:gd name="T70" fmla="*/ 523 w 901"/>
                <a:gd name="T71" fmla="*/ 793 h 826"/>
                <a:gd name="T72" fmla="*/ 543 w 901"/>
                <a:gd name="T73" fmla="*/ 813 h 826"/>
                <a:gd name="T74" fmla="*/ 570 w 901"/>
                <a:gd name="T75" fmla="*/ 825 h 826"/>
                <a:gd name="T76" fmla="*/ 601 w 901"/>
                <a:gd name="T77" fmla="*/ 825 h 826"/>
                <a:gd name="T78" fmla="*/ 628 w 901"/>
                <a:gd name="T79" fmla="*/ 813 h 826"/>
                <a:gd name="T80" fmla="*/ 648 w 901"/>
                <a:gd name="T81" fmla="*/ 793 h 826"/>
                <a:gd name="T82" fmla="*/ 659 w 901"/>
                <a:gd name="T83" fmla="*/ 766 h 826"/>
                <a:gd name="T84" fmla="*/ 658 w 901"/>
                <a:gd name="T85" fmla="*/ 730 h 826"/>
                <a:gd name="T86" fmla="*/ 635 w 901"/>
                <a:gd name="T87" fmla="*/ 695 h 826"/>
                <a:gd name="T88" fmla="*/ 630 w 901"/>
                <a:gd name="T89" fmla="*/ 635 h 826"/>
                <a:gd name="T90" fmla="*/ 886 w 901"/>
                <a:gd name="T91" fmla="*/ 75 h 826"/>
                <a:gd name="T92" fmla="*/ 897 w 901"/>
                <a:gd name="T93" fmla="*/ 70 h 826"/>
                <a:gd name="T94" fmla="*/ 901 w 901"/>
                <a:gd name="T95" fmla="*/ 60 h 826"/>
                <a:gd name="T96" fmla="*/ 897 w 901"/>
                <a:gd name="T97" fmla="*/ 49 h 826"/>
                <a:gd name="T98" fmla="*/ 886 w 901"/>
                <a:gd name="T99" fmla="*/ 45 h 8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901" h="826">
                  <a:moveTo>
                    <a:pt x="442" y="255"/>
                  </a:moveTo>
                  <a:lnTo>
                    <a:pt x="540" y="161"/>
                  </a:lnTo>
                  <a:lnTo>
                    <a:pt x="540" y="161"/>
                  </a:lnTo>
                  <a:lnTo>
                    <a:pt x="540" y="161"/>
                  </a:lnTo>
                  <a:lnTo>
                    <a:pt x="562" y="139"/>
                  </a:lnTo>
                  <a:lnTo>
                    <a:pt x="659" y="255"/>
                  </a:lnTo>
                  <a:lnTo>
                    <a:pt x="442" y="255"/>
                  </a:lnTo>
                  <a:close/>
                  <a:moveTo>
                    <a:pt x="360" y="255"/>
                  </a:moveTo>
                  <a:lnTo>
                    <a:pt x="360" y="165"/>
                  </a:lnTo>
                  <a:lnTo>
                    <a:pt x="493" y="165"/>
                  </a:lnTo>
                  <a:lnTo>
                    <a:pt x="399" y="255"/>
                  </a:lnTo>
                  <a:lnTo>
                    <a:pt x="360" y="255"/>
                  </a:lnTo>
                  <a:close/>
                  <a:moveTo>
                    <a:pt x="114" y="255"/>
                  </a:moveTo>
                  <a:lnTo>
                    <a:pt x="34" y="67"/>
                  </a:lnTo>
                  <a:lnTo>
                    <a:pt x="101" y="35"/>
                  </a:lnTo>
                  <a:lnTo>
                    <a:pt x="201" y="255"/>
                  </a:lnTo>
                  <a:lnTo>
                    <a:pt x="114" y="255"/>
                  </a:lnTo>
                  <a:close/>
                  <a:moveTo>
                    <a:pt x="886" y="45"/>
                  </a:moveTo>
                  <a:lnTo>
                    <a:pt x="753" y="45"/>
                  </a:lnTo>
                  <a:lnTo>
                    <a:pt x="749" y="46"/>
                  </a:lnTo>
                  <a:lnTo>
                    <a:pt x="745" y="48"/>
                  </a:lnTo>
                  <a:lnTo>
                    <a:pt x="740" y="51"/>
                  </a:lnTo>
                  <a:lnTo>
                    <a:pt x="739" y="57"/>
                  </a:lnTo>
                  <a:lnTo>
                    <a:pt x="692" y="248"/>
                  </a:lnTo>
                  <a:lnTo>
                    <a:pt x="575" y="107"/>
                  </a:lnTo>
                  <a:lnTo>
                    <a:pt x="573" y="105"/>
                  </a:lnTo>
                  <a:lnTo>
                    <a:pt x="571" y="104"/>
                  </a:lnTo>
                  <a:lnTo>
                    <a:pt x="568" y="103"/>
                  </a:lnTo>
                  <a:lnTo>
                    <a:pt x="564" y="102"/>
                  </a:lnTo>
                  <a:lnTo>
                    <a:pt x="561" y="102"/>
                  </a:lnTo>
                  <a:lnTo>
                    <a:pt x="559" y="103"/>
                  </a:lnTo>
                  <a:lnTo>
                    <a:pt x="556" y="104"/>
                  </a:lnTo>
                  <a:lnTo>
                    <a:pt x="554" y="106"/>
                  </a:lnTo>
                  <a:lnTo>
                    <a:pt x="524" y="135"/>
                  </a:lnTo>
                  <a:lnTo>
                    <a:pt x="345" y="135"/>
                  </a:lnTo>
                  <a:lnTo>
                    <a:pt x="341" y="135"/>
                  </a:lnTo>
                  <a:lnTo>
                    <a:pt x="339" y="136"/>
                  </a:lnTo>
                  <a:lnTo>
                    <a:pt x="336" y="138"/>
                  </a:lnTo>
                  <a:lnTo>
                    <a:pt x="334" y="139"/>
                  </a:lnTo>
                  <a:lnTo>
                    <a:pt x="333" y="141"/>
                  </a:lnTo>
                  <a:lnTo>
                    <a:pt x="331" y="144"/>
                  </a:lnTo>
                  <a:lnTo>
                    <a:pt x="331" y="147"/>
                  </a:lnTo>
                  <a:lnTo>
                    <a:pt x="330" y="150"/>
                  </a:lnTo>
                  <a:lnTo>
                    <a:pt x="330" y="255"/>
                  </a:lnTo>
                  <a:lnTo>
                    <a:pt x="234" y="255"/>
                  </a:lnTo>
                  <a:lnTo>
                    <a:pt x="123" y="8"/>
                  </a:lnTo>
                  <a:lnTo>
                    <a:pt x="122" y="6"/>
                  </a:lnTo>
                  <a:lnTo>
                    <a:pt x="120" y="4"/>
                  </a:lnTo>
                  <a:lnTo>
                    <a:pt x="117" y="2"/>
                  </a:lnTo>
                  <a:lnTo>
                    <a:pt x="114" y="1"/>
                  </a:lnTo>
                  <a:lnTo>
                    <a:pt x="111" y="0"/>
                  </a:lnTo>
                  <a:lnTo>
                    <a:pt x="109" y="0"/>
                  </a:lnTo>
                  <a:lnTo>
                    <a:pt x="106" y="0"/>
                  </a:lnTo>
                  <a:lnTo>
                    <a:pt x="102" y="1"/>
                  </a:lnTo>
                  <a:lnTo>
                    <a:pt x="8" y="46"/>
                  </a:lnTo>
                  <a:lnTo>
                    <a:pt x="5" y="48"/>
                  </a:lnTo>
                  <a:lnTo>
                    <a:pt x="3" y="50"/>
                  </a:lnTo>
                  <a:lnTo>
                    <a:pt x="2" y="52"/>
                  </a:lnTo>
                  <a:lnTo>
                    <a:pt x="1" y="54"/>
                  </a:lnTo>
                  <a:lnTo>
                    <a:pt x="0" y="58"/>
                  </a:lnTo>
                  <a:lnTo>
                    <a:pt x="0" y="60"/>
                  </a:lnTo>
                  <a:lnTo>
                    <a:pt x="0" y="63"/>
                  </a:lnTo>
                  <a:lnTo>
                    <a:pt x="1" y="66"/>
                  </a:lnTo>
                  <a:lnTo>
                    <a:pt x="82" y="255"/>
                  </a:lnTo>
                  <a:lnTo>
                    <a:pt x="15" y="255"/>
                  </a:lnTo>
                  <a:lnTo>
                    <a:pt x="11" y="256"/>
                  </a:lnTo>
                  <a:lnTo>
                    <a:pt x="7" y="257"/>
                  </a:lnTo>
                  <a:lnTo>
                    <a:pt x="5" y="259"/>
                  </a:lnTo>
                  <a:lnTo>
                    <a:pt x="2" y="261"/>
                  </a:lnTo>
                  <a:lnTo>
                    <a:pt x="1" y="265"/>
                  </a:lnTo>
                  <a:lnTo>
                    <a:pt x="0" y="268"/>
                  </a:lnTo>
                  <a:lnTo>
                    <a:pt x="0" y="271"/>
                  </a:lnTo>
                  <a:lnTo>
                    <a:pt x="1" y="275"/>
                  </a:lnTo>
                  <a:lnTo>
                    <a:pt x="114" y="635"/>
                  </a:lnTo>
                  <a:lnTo>
                    <a:pt x="116" y="640"/>
                  </a:lnTo>
                  <a:lnTo>
                    <a:pt x="120" y="643"/>
                  </a:lnTo>
                  <a:lnTo>
                    <a:pt x="123" y="645"/>
                  </a:lnTo>
                  <a:lnTo>
                    <a:pt x="128" y="646"/>
                  </a:lnTo>
                  <a:lnTo>
                    <a:pt x="596" y="646"/>
                  </a:lnTo>
                  <a:lnTo>
                    <a:pt x="589" y="676"/>
                  </a:lnTo>
                  <a:lnTo>
                    <a:pt x="180" y="676"/>
                  </a:lnTo>
                  <a:lnTo>
                    <a:pt x="172" y="676"/>
                  </a:lnTo>
                  <a:lnTo>
                    <a:pt x="165" y="677"/>
                  </a:lnTo>
                  <a:lnTo>
                    <a:pt x="157" y="679"/>
                  </a:lnTo>
                  <a:lnTo>
                    <a:pt x="151" y="682"/>
                  </a:lnTo>
                  <a:lnTo>
                    <a:pt x="144" y="685"/>
                  </a:lnTo>
                  <a:lnTo>
                    <a:pt x="138" y="689"/>
                  </a:lnTo>
                  <a:lnTo>
                    <a:pt x="131" y="693"/>
                  </a:lnTo>
                  <a:lnTo>
                    <a:pt x="127" y="698"/>
                  </a:lnTo>
                  <a:lnTo>
                    <a:pt x="122" y="703"/>
                  </a:lnTo>
                  <a:lnTo>
                    <a:pt x="117" y="709"/>
                  </a:lnTo>
                  <a:lnTo>
                    <a:pt x="113" y="716"/>
                  </a:lnTo>
                  <a:lnTo>
                    <a:pt x="110" y="722"/>
                  </a:lnTo>
                  <a:lnTo>
                    <a:pt x="108" y="729"/>
                  </a:lnTo>
                  <a:lnTo>
                    <a:pt x="106" y="736"/>
                  </a:lnTo>
                  <a:lnTo>
                    <a:pt x="105" y="744"/>
                  </a:lnTo>
                  <a:lnTo>
                    <a:pt x="105" y="751"/>
                  </a:lnTo>
                  <a:lnTo>
                    <a:pt x="105" y="759"/>
                  </a:lnTo>
                  <a:lnTo>
                    <a:pt x="106" y="766"/>
                  </a:lnTo>
                  <a:lnTo>
                    <a:pt x="108" y="774"/>
                  </a:lnTo>
                  <a:lnTo>
                    <a:pt x="110" y="780"/>
                  </a:lnTo>
                  <a:lnTo>
                    <a:pt x="113" y="787"/>
                  </a:lnTo>
                  <a:lnTo>
                    <a:pt x="117" y="793"/>
                  </a:lnTo>
                  <a:lnTo>
                    <a:pt x="122" y="798"/>
                  </a:lnTo>
                  <a:lnTo>
                    <a:pt x="127" y="804"/>
                  </a:lnTo>
                  <a:lnTo>
                    <a:pt x="131" y="809"/>
                  </a:lnTo>
                  <a:lnTo>
                    <a:pt x="138" y="813"/>
                  </a:lnTo>
                  <a:lnTo>
                    <a:pt x="144" y="818"/>
                  </a:lnTo>
                  <a:lnTo>
                    <a:pt x="151" y="821"/>
                  </a:lnTo>
                  <a:lnTo>
                    <a:pt x="157" y="823"/>
                  </a:lnTo>
                  <a:lnTo>
                    <a:pt x="165" y="825"/>
                  </a:lnTo>
                  <a:lnTo>
                    <a:pt x="172" y="826"/>
                  </a:lnTo>
                  <a:lnTo>
                    <a:pt x="180" y="826"/>
                  </a:lnTo>
                  <a:lnTo>
                    <a:pt x="187" y="826"/>
                  </a:lnTo>
                  <a:lnTo>
                    <a:pt x="195" y="825"/>
                  </a:lnTo>
                  <a:lnTo>
                    <a:pt x="202" y="823"/>
                  </a:lnTo>
                  <a:lnTo>
                    <a:pt x="209" y="821"/>
                  </a:lnTo>
                  <a:lnTo>
                    <a:pt x="215" y="818"/>
                  </a:lnTo>
                  <a:lnTo>
                    <a:pt x="221" y="813"/>
                  </a:lnTo>
                  <a:lnTo>
                    <a:pt x="228" y="809"/>
                  </a:lnTo>
                  <a:lnTo>
                    <a:pt x="233" y="804"/>
                  </a:lnTo>
                  <a:lnTo>
                    <a:pt x="238" y="798"/>
                  </a:lnTo>
                  <a:lnTo>
                    <a:pt x="242" y="793"/>
                  </a:lnTo>
                  <a:lnTo>
                    <a:pt x="246" y="787"/>
                  </a:lnTo>
                  <a:lnTo>
                    <a:pt x="249" y="780"/>
                  </a:lnTo>
                  <a:lnTo>
                    <a:pt x="251" y="774"/>
                  </a:lnTo>
                  <a:lnTo>
                    <a:pt x="254" y="766"/>
                  </a:lnTo>
                  <a:lnTo>
                    <a:pt x="255" y="759"/>
                  </a:lnTo>
                  <a:lnTo>
                    <a:pt x="255" y="751"/>
                  </a:lnTo>
                  <a:lnTo>
                    <a:pt x="254" y="738"/>
                  </a:lnTo>
                  <a:lnTo>
                    <a:pt x="250" y="727"/>
                  </a:lnTo>
                  <a:lnTo>
                    <a:pt x="246" y="716"/>
                  </a:lnTo>
                  <a:lnTo>
                    <a:pt x="240" y="706"/>
                  </a:lnTo>
                  <a:lnTo>
                    <a:pt x="526" y="706"/>
                  </a:lnTo>
                  <a:lnTo>
                    <a:pt x="519" y="716"/>
                  </a:lnTo>
                  <a:lnTo>
                    <a:pt x="514" y="727"/>
                  </a:lnTo>
                  <a:lnTo>
                    <a:pt x="511" y="738"/>
                  </a:lnTo>
                  <a:lnTo>
                    <a:pt x="510" y="751"/>
                  </a:lnTo>
                  <a:lnTo>
                    <a:pt x="511" y="759"/>
                  </a:lnTo>
                  <a:lnTo>
                    <a:pt x="512" y="766"/>
                  </a:lnTo>
                  <a:lnTo>
                    <a:pt x="514" y="774"/>
                  </a:lnTo>
                  <a:lnTo>
                    <a:pt x="516" y="780"/>
                  </a:lnTo>
                  <a:lnTo>
                    <a:pt x="519" y="787"/>
                  </a:lnTo>
                  <a:lnTo>
                    <a:pt x="523" y="793"/>
                  </a:lnTo>
                  <a:lnTo>
                    <a:pt x="528" y="798"/>
                  </a:lnTo>
                  <a:lnTo>
                    <a:pt x="532" y="804"/>
                  </a:lnTo>
                  <a:lnTo>
                    <a:pt x="538" y="809"/>
                  </a:lnTo>
                  <a:lnTo>
                    <a:pt x="543" y="813"/>
                  </a:lnTo>
                  <a:lnTo>
                    <a:pt x="549" y="818"/>
                  </a:lnTo>
                  <a:lnTo>
                    <a:pt x="556" y="821"/>
                  </a:lnTo>
                  <a:lnTo>
                    <a:pt x="563" y="823"/>
                  </a:lnTo>
                  <a:lnTo>
                    <a:pt x="570" y="825"/>
                  </a:lnTo>
                  <a:lnTo>
                    <a:pt x="577" y="826"/>
                  </a:lnTo>
                  <a:lnTo>
                    <a:pt x="586" y="826"/>
                  </a:lnTo>
                  <a:lnTo>
                    <a:pt x="593" y="826"/>
                  </a:lnTo>
                  <a:lnTo>
                    <a:pt x="601" y="825"/>
                  </a:lnTo>
                  <a:lnTo>
                    <a:pt x="607" y="823"/>
                  </a:lnTo>
                  <a:lnTo>
                    <a:pt x="615" y="821"/>
                  </a:lnTo>
                  <a:lnTo>
                    <a:pt x="621" y="818"/>
                  </a:lnTo>
                  <a:lnTo>
                    <a:pt x="628" y="813"/>
                  </a:lnTo>
                  <a:lnTo>
                    <a:pt x="633" y="809"/>
                  </a:lnTo>
                  <a:lnTo>
                    <a:pt x="638" y="804"/>
                  </a:lnTo>
                  <a:lnTo>
                    <a:pt x="644" y="798"/>
                  </a:lnTo>
                  <a:lnTo>
                    <a:pt x="648" y="793"/>
                  </a:lnTo>
                  <a:lnTo>
                    <a:pt x="651" y="787"/>
                  </a:lnTo>
                  <a:lnTo>
                    <a:pt x="654" y="780"/>
                  </a:lnTo>
                  <a:lnTo>
                    <a:pt x="658" y="774"/>
                  </a:lnTo>
                  <a:lnTo>
                    <a:pt x="659" y="766"/>
                  </a:lnTo>
                  <a:lnTo>
                    <a:pt x="660" y="759"/>
                  </a:lnTo>
                  <a:lnTo>
                    <a:pt x="661" y="751"/>
                  </a:lnTo>
                  <a:lnTo>
                    <a:pt x="660" y="740"/>
                  </a:lnTo>
                  <a:lnTo>
                    <a:pt x="658" y="730"/>
                  </a:lnTo>
                  <a:lnTo>
                    <a:pt x="653" y="720"/>
                  </a:lnTo>
                  <a:lnTo>
                    <a:pt x="649" y="710"/>
                  </a:lnTo>
                  <a:lnTo>
                    <a:pt x="643" y="702"/>
                  </a:lnTo>
                  <a:lnTo>
                    <a:pt x="635" y="695"/>
                  </a:lnTo>
                  <a:lnTo>
                    <a:pt x="627" y="689"/>
                  </a:lnTo>
                  <a:lnTo>
                    <a:pt x="618" y="684"/>
                  </a:lnTo>
                  <a:lnTo>
                    <a:pt x="629" y="637"/>
                  </a:lnTo>
                  <a:lnTo>
                    <a:pt x="630" y="635"/>
                  </a:lnTo>
                  <a:lnTo>
                    <a:pt x="630" y="634"/>
                  </a:lnTo>
                  <a:lnTo>
                    <a:pt x="717" y="274"/>
                  </a:lnTo>
                  <a:lnTo>
                    <a:pt x="765" y="75"/>
                  </a:lnTo>
                  <a:lnTo>
                    <a:pt x="886" y="75"/>
                  </a:lnTo>
                  <a:lnTo>
                    <a:pt x="889" y="75"/>
                  </a:lnTo>
                  <a:lnTo>
                    <a:pt x="891" y="74"/>
                  </a:lnTo>
                  <a:lnTo>
                    <a:pt x="895" y="73"/>
                  </a:lnTo>
                  <a:lnTo>
                    <a:pt x="897" y="70"/>
                  </a:lnTo>
                  <a:lnTo>
                    <a:pt x="899" y="68"/>
                  </a:lnTo>
                  <a:lnTo>
                    <a:pt x="900" y="66"/>
                  </a:lnTo>
                  <a:lnTo>
                    <a:pt x="901" y="63"/>
                  </a:lnTo>
                  <a:lnTo>
                    <a:pt x="901" y="60"/>
                  </a:lnTo>
                  <a:lnTo>
                    <a:pt x="901" y="57"/>
                  </a:lnTo>
                  <a:lnTo>
                    <a:pt x="900" y="54"/>
                  </a:lnTo>
                  <a:lnTo>
                    <a:pt x="899" y="51"/>
                  </a:lnTo>
                  <a:lnTo>
                    <a:pt x="897" y="49"/>
                  </a:lnTo>
                  <a:lnTo>
                    <a:pt x="895" y="47"/>
                  </a:lnTo>
                  <a:lnTo>
                    <a:pt x="891" y="46"/>
                  </a:lnTo>
                  <a:lnTo>
                    <a:pt x="889" y="45"/>
                  </a:lnTo>
                  <a:lnTo>
                    <a:pt x="886" y="45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3" name="Rectangle 52">
            <a:extLst>
              <a:ext uri="{FF2B5EF4-FFF2-40B4-BE49-F238E27FC236}">
                <a16:creationId xmlns:a16="http://schemas.microsoft.com/office/drawing/2014/main" id="{A6F2075E-6E47-478F-B056-AE9EEE8CE2C6}"/>
              </a:ext>
            </a:extLst>
          </p:cNvPr>
          <p:cNvSpPr/>
          <p:nvPr/>
        </p:nvSpPr>
        <p:spPr>
          <a:xfrm>
            <a:off x="6486067" y="2458889"/>
            <a:ext cx="4372433" cy="255454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cs typeface="Segoe UI" panose="020B0502040204020203" pitchFamily="34" charset="0"/>
              </a:rPr>
              <a:t>“Lorem ipsum dolor sit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  <a:cs typeface="Segoe UI" panose="020B0502040204020203" pitchFamily="34" charset="0"/>
              </a:rPr>
              <a:t>ame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cs typeface="Segoe UI" panose="020B0502040204020203" pitchFamily="34" charset="0"/>
              </a:rPr>
              <a:t>,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  <a:cs typeface="Segoe UI" panose="020B0502040204020203" pitchFamily="34" charset="0"/>
              </a:rPr>
              <a:t>consectetur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cs typeface="Segoe UI" panose="020B0502040204020203" pitchFamily="34" charset="0"/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  <a:cs typeface="Segoe UI" panose="020B0502040204020203" pitchFamily="34" charset="0"/>
              </a:rPr>
              <a:t>adipiscing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cs typeface="Segoe UI" panose="020B0502040204020203" pitchFamily="34" charset="0"/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  <a:cs typeface="Segoe UI" panose="020B0502040204020203" pitchFamily="34" charset="0"/>
              </a:rPr>
              <a:t>eli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cs typeface="Segoe UI" panose="020B0502040204020203" pitchFamily="34" charset="0"/>
              </a:rPr>
              <a:t>. Duis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  <a:cs typeface="Segoe UI" panose="020B0502040204020203" pitchFamily="34" charset="0"/>
              </a:rPr>
              <a:t>suscipi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cs typeface="Segoe UI" panose="020B0502040204020203" pitchFamily="34" charset="0"/>
              </a:rPr>
              <a:t> in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  <a:cs typeface="Segoe UI" panose="020B0502040204020203" pitchFamily="34" charset="0"/>
              </a:rPr>
              <a:t>tellus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cs typeface="Segoe UI" panose="020B0502040204020203" pitchFamily="34" charset="0"/>
              </a:rPr>
              <a:t> ac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  <a:cs typeface="Segoe UI" panose="020B0502040204020203" pitchFamily="34" charset="0"/>
              </a:rPr>
              <a:t>bibendum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cs typeface="Segoe UI" panose="020B0502040204020203" pitchFamily="34" charset="0"/>
              </a:rPr>
              <a:t>. Sed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  <a:cs typeface="Segoe UI" panose="020B0502040204020203" pitchFamily="34" charset="0"/>
              </a:rPr>
              <a:t>congue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cs typeface="Segoe UI" panose="020B0502040204020203" pitchFamily="34" charset="0"/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  <a:cs typeface="Segoe UI" panose="020B0502040204020203" pitchFamily="34" charset="0"/>
              </a:rPr>
              <a:t>lacus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cs typeface="Segoe UI" panose="020B0502040204020203" pitchFamily="34" charset="0"/>
              </a:rPr>
              <a:t> vitae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  <a:cs typeface="Segoe UI" panose="020B0502040204020203" pitchFamily="34" charset="0"/>
              </a:rPr>
              <a:t>tellus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cs typeface="Segoe UI" panose="020B0502040204020203" pitchFamily="34" charset="0"/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  <a:cs typeface="Segoe UI" panose="020B0502040204020203" pitchFamily="34" charset="0"/>
              </a:rPr>
              <a:t>finibus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cs typeface="Segoe UI" panose="020B0502040204020203" pitchFamily="34" charset="0"/>
              </a:rPr>
              <a:t>,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  <a:cs typeface="Segoe UI" panose="020B0502040204020203" pitchFamily="34" charset="0"/>
              </a:rPr>
              <a:t>eu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cs typeface="Segoe UI" panose="020B0502040204020203" pitchFamily="34" charset="0"/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  <a:cs typeface="Segoe UI" panose="020B0502040204020203" pitchFamily="34" charset="0"/>
              </a:rPr>
              <a:t>faucibus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cs typeface="Segoe UI" panose="020B0502040204020203" pitchFamily="34" charset="0"/>
              </a:rPr>
              <a:t> nisi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  <a:cs typeface="Segoe UI" panose="020B0502040204020203" pitchFamily="34" charset="0"/>
              </a:rPr>
              <a:t>ullamcorper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cs typeface="Segoe UI" panose="020B0502040204020203" pitchFamily="34" charset="0"/>
              </a:rPr>
              <a:t>.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  <a:cs typeface="Segoe UI" panose="020B0502040204020203" pitchFamily="34" charset="0"/>
              </a:rPr>
              <a:t>Quisque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cs typeface="Segoe UI" panose="020B0502040204020203" pitchFamily="34" charset="0"/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  <a:cs typeface="Segoe UI" panose="020B0502040204020203" pitchFamily="34" charset="0"/>
              </a:rPr>
              <a:t>volutpa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cs typeface="Segoe UI" panose="020B0502040204020203" pitchFamily="34" charset="0"/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  <a:cs typeface="Segoe UI" panose="020B0502040204020203" pitchFamily="34" charset="0"/>
              </a:rPr>
              <a:t>leo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cs typeface="Segoe UI" panose="020B0502040204020203" pitchFamily="34" charset="0"/>
              </a:rPr>
              <a:t> at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  <a:cs typeface="Segoe UI" panose="020B0502040204020203" pitchFamily="34" charset="0"/>
              </a:rPr>
              <a:t>arcu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cs typeface="Segoe UI" panose="020B0502040204020203" pitchFamily="34" charset="0"/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  <a:cs typeface="Segoe UI" panose="020B0502040204020203" pitchFamily="34" charset="0"/>
              </a:rPr>
              <a:t>placera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cs typeface="Segoe UI" panose="020B0502040204020203" pitchFamily="34" charset="0"/>
              </a:rPr>
              <a:t>,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  <a:cs typeface="Segoe UI" panose="020B0502040204020203" pitchFamily="34" charset="0"/>
              </a:rPr>
              <a:t>quis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cs typeface="Segoe UI" panose="020B0502040204020203" pitchFamily="34" charset="0"/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  <a:cs typeface="Segoe UI" panose="020B0502040204020203" pitchFamily="34" charset="0"/>
              </a:rPr>
              <a:t>pellentesque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cs typeface="Segoe UI" panose="020B0502040204020203" pitchFamily="34" charset="0"/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  <a:cs typeface="Segoe UI" panose="020B0502040204020203" pitchFamily="34" charset="0"/>
              </a:rPr>
              <a:t>tellus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cs typeface="Segoe UI" panose="020B0502040204020203" pitchFamily="34" charset="0"/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  <a:cs typeface="Segoe UI" panose="020B0502040204020203" pitchFamily="34" charset="0"/>
              </a:rPr>
              <a:t>bibendum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cs typeface="Segoe UI" panose="020B0502040204020203" pitchFamily="34" charset="0"/>
              </a:rPr>
              <a:t>.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  <a:cs typeface="Segoe UI" panose="020B0502040204020203" pitchFamily="34" charset="0"/>
              </a:rPr>
              <a:t>Proin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cs typeface="Segoe UI" panose="020B0502040204020203" pitchFamily="34" charset="0"/>
              </a:rPr>
              <a:t> et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  <a:cs typeface="Segoe UI" panose="020B0502040204020203" pitchFamily="34" charset="0"/>
              </a:rPr>
              <a:t>luctus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cs typeface="Segoe UI" panose="020B0502040204020203" pitchFamily="34" charset="0"/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  <a:cs typeface="Segoe UI" panose="020B0502040204020203" pitchFamily="34" charset="0"/>
              </a:rPr>
              <a:t>nisl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cs typeface="Segoe UI" panose="020B0502040204020203" pitchFamily="34" charset="0"/>
              </a:rPr>
              <a:t>,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  <a:cs typeface="Segoe UI" panose="020B0502040204020203" pitchFamily="34" charset="0"/>
              </a:rPr>
              <a:t>u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cs typeface="Segoe UI" panose="020B0502040204020203" pitchFamily="34" charset="0"/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  <a:cs typeface="Segoe UI" panose="020B0502040204020203" pitchFamily="34" charset="0"/>
              </a:rPr>
              <a:t>viverra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cs typeface="Segoe UI" panose="020B0502040204020203" pitchFamily="34" charset="0"/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  <a:cs typeface="Segoe UI" panose="020B0502040204020203" pitchFamily="34" charset="0"/>
              </a:rPr>
              <a:t>eros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cs typeface="Segoe UI" panose="020B0502040204020203" pitchFamily="34" charset="0"/>
              </a:rPr>
              <a:t>.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  <a:cs typeface="Segoe UI" panose="020B0502040204020203" pitchFamily="34" charset="0"/>
              </a:rPr>
              <a:t>Suspendisse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cs typeface="Segoe UI" panose="020B0502040204020203" pitchFamily="34" charset="0"/>
              </a:rPr>
              <a:t> pharetra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  <a:cs typeface="Segoe UI" panose="020B0502040204020203" pitchFamily="34" charset="0"/>
              </a:rPr>
              <a:t>mattis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cs typeface="Segoe UI" panose="020B0502040204020203" pitchFamily="34" charset="0"/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  <a:cs typeface="Segoe UI" panose="020B0502040204020203" pitchFamily="34" charset="0"/>
              </a:rPr>
              <a:t>purus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cs typeface="Segoe UI" panose="020B0502040204020203" pitchFamily="34" charset="0"/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  <a:cs typeface="Segoe UI" panose="020B0502040204020203" pitchFamily="34" charset="0"/>
              </a:rPr>
              <a:t>eu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cs typeface="Segoe UI" panose="020B0502040204020203" pitchFamily="34" charset="0"/>
              </a:rPr>
              <a:t> semper.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  <a:cs typeface="Segoe UI" panose="020B0502040204020203" pitchFamily="34" charset="0"/>
              </a:rPr>
              <a:t>Donec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cs typeface="Segoe UI" panose="020B0502040204020203" pitchFamily="34" charset="0"/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  <a:cs typeface="Segoe UI" panose="020B0502040204020203" pitchFamily="34" charset="0"/>
              </a:rPr>
              <a:t>pellentesque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cs typeface="Segoe UI" panose="020B0502040204020203" pitchFamily="34" charset="0"/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  <a:cs typeface="Segoe UI" panose="020B0502040204020203" pitchFamily="34" charset="0"/>
              </a:rPr>
              <a:t>condimentum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cs typeface="Segoe UI" panose="020B0502040204020203" pitchFamily="34" charset="0"/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  <a:cs typeface="Segoe UI" panose="020B0502040204020203" pitchFamily="34" charset="0"/>
              </a:rPr>
              <a:t>sapien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cs typeface="Segoe UI" panose="020B0502040204020203" pitchFamily="34" charset="0"/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  <a:cs typeface="Segoe UI" panose="020B0502040204020203" pitchFamily="34" charset="0"/>
              </a:rPr>
              <a:t>quis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cs typeface="Segoe UI" panose="020B0502040204020203" pitchFamily="34" charset="0"/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  <a:cs typeface="Segoe UI" panose="020B0502040204020203" pitchFamily="34" charset="0"/>
              </a:rPr>
              <a:t>posuere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cs typeface="Segoe UI" panose="020B0502040204020203" pitchFamily="34" charset="0"/>
              </a:rPr>
              <a:t>.”</a:t>
            </a:r>
          </a:p>
        </p:txBody>
      </p:sp>
    </p:spTree>
    <p:extLst>
      <p:ext uri="{BB962C8B-B14F-4D97-AF65-F5344CB8AC3E}">
        <p14:creationId xmlns:p14="http://schemas.microsoft.com/office/powerpoint/2010/main" val="3190287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onsolas-Verdana">
      <a:majorFont>
        <a:latin typeface="Consolas" panose="020B0609020204030204"/>
        <a:ea typeface=""/>
        <a:cs typeface=""/>
        <a:font script="Jpan" typeface="HG丸ｺﾞｼｯｸM-PRO"/>
        <a:font script="Hang" typeface="HY중고딕"/>
        <a:font script="Hans" typeface="华文楷体"/>
        <a:font script="Hant" typeface="新細明體"/>
        <a:font script="Arab" typeface="Tahoma"/>
        <a:font script="Hebr" typeface="Levenim MT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Verdana" panose="020B060403050404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63</Words>
  <Application>Microsoft Office PowerPoint</Application>
  <PresentationFormat>Breitbild</PresentationFormat>
  <Paragraphs>103</Paragraphs>
  <Slides>10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0</vt:i4>
      </vt:variant>
    </vt:vector>
  </HeadingPairs>
  <TitlesOfParts>
    <vt:vector size="15" baseType="lpstr">
      <vt:lpstr>Arial</vt:lpstr>
      <vt:lpstr>Calibri</vt:lpstr>
      <vt:lpstr>Consolas</vt:lpstr>
      <vt:lpstr>Verdana</vt:lpstr>
      <vt:lpstr>Office Them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ugroho Ade</dc:creator>
  <cp:lastModifiedBy>Salome Steinke</cp:lastModifiedBy>
  <cp:revision>91</cp:revision>
  <dcterms:created xsi:type="dcterms:W3CDTF">2018-08-28T07:00:51Z</dcterms:created>
  <dcterms:modified xsi:type="dcterms:W3CDTF">2019-05-08T12:29:29Z</dcterms:modified>
</cp:coreProperties>
</file>